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6.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7.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8.xml" ContentType="application/vnd.openxmlformats-officedocument.theme+xml"/>
  <Override PartName="/ppt/theme/theme9.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3">
  <p:sldMasterIdLst>
    <p:sldMasterId id="2147483673" r:id="rId1"/>
    <p:sldMasterId id="2147483678" r:id="rId2"/>
    <p:sldMasterId id="2147483685" r:id="rId3"/>
    <p:sldMasterId id="2147483697" r:id="rId4"/>
    <p:sldMasterId id="2147483730" r:id="rId5"/>
    <p:sldMasterId id="2147484899" r:id="rId6"/>
    <p:sldMasterId id="2147485410" r:id="rId7"/>
  </p:sldMasterIdLst>
  <p:notesMasterIdLst>
    <p:notesMasterId r:id="rId13"/>
  </p:notesMasterIdLst>
  <p:handoutMasterIdLst>
    <p:handoutMasterId r:id="rId14"/>
  </p:handoutMasterIdLst>
  <p:sldIdLst>
    <p:sldId id="2134806318" r:id="rId8"/>
    <p:sldId id="2134806322" r:id="rId9"/>
    <p:sldId id="2134806277" r:id="rId10"/>
    <p:sldId id="2134806269" r:id="rId11"/>
    <p:sldId id="2134806319" r:id="rId12"/>
  </p:sldIdLst>
  <p:sldSz cx="12192000" cy="6858000"/>
  <p:notesSz cx="6858000" cy="9144000"/>
  <p:custDataLst>
    <p:tags r:id="rId15"/>
  </p:custDataLst>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Раздел по умолчанию" id="{A3A39358-42A3-4201-B2C1-C9FD2E651B2F}">
          <p14:sldIdLst>
            <p14:sldId id="2134806318"/>
            <p14:sldId id="2134806322"/>
            <p14:sldId id="2134806277"/>
            <p14:sldId id="2134806269"/>
            <p14:sldId id="2134806319"/>
          </p14:sldIdLst>
        </p14:section>
      </p14:sectionLst>
    </p:ext>
    <p:ext uri="{EFAFB233-063F-42B5-8137-9DF3F51BA10A}">
      <p15:sldGuideLst xmlns:p15="http://schemas.microsoft.com/office/powerpoint/2012/main">
        <p15:guide id="1" orient="horz" pos="1656" userDrawn="1">
          <p15:clr>
            <a:srgbClr val="A4A3A4"/>
          </p15:clr>
        </p15:guide>
        <p15:guide id="21" userDrawn="1">
          <p15:clr>
            <a:srgbClr val="A4A3A4"/>
          </p15:clr>
        </p15:guide>
        <p15:guide id="47" orient="horz" pos="3163" userDrawn="1">
          <p15:clr>
            <a:srgbClr val="A4A3A4"/>
          </p15:clr>
        </p15:guide>
        <p15:guide id="66" pos="4679" userDrawn="1">
          <p15:clr>
            <a:srgbClr val="A4A3A4"/>
          </p15:clr>
        </p15:guide>
        <p15:guide id="75" orient="horz" pos="2523" userDrawn="1">
          <p15:clr>
            <a:srgbClr val="A4A3A4"/>
          </p15:clr>
        </p15:guide>
        <p15:guide id="76" orient="horz" pos="3816" userDrawn="1">
          <p15:clr>
            <a:srgbClr val="A4A3A4"/>
          </p15:clr>
        </p15:guide>
        <p15:guide id="78" orient="horz" pos="1094" userDrawn="1">
          <p15:clr>
            <a:srgbClr val="A4A3A4"/>
          </p15:clr>
        </p15:guide>
        <p15:guide id="79" pos="3840" userDrawn="1">
          <p15:clr>
            <a:srgbClr val="A4A3A4"/>
          </p15:clr>
        </p15:guide>
        <p15:guide id="82" pos="6811" userDrawn="1">
          <p15:clr>
            <a:srgbClr val="A4A3A4"/>
          </p15:clr>
        </p15:guide>
        <p15:guide id="83" pos="461" userDrawn="1">
          <p15:clr>
            <a:srgbClr val="A4A3A4"/>
          </p15:clr>
        </p15:guide>
        <p15:guide id="84" pos="7605" userDrawn="1">
          <p15:clr>
            <a:srgbClr val="A4A3A4"/>
          </p15:clr>
        </p15:guide>
        <p15:guide id="85" pos="1708" userDrawn="1">
          <p15:clr>
            <a:srgbClr val="A4A3A4"/>
          </p15:clr>
        </p15:guide>
        <p15:guide id="88" orient="horz" pos="3012" userDrawn="1">
          <p15:clr>
            <a:srgbClr val="A4A3A4"/>
          </p15:clr>
        </p15:guide>
        <p15:guide id="89" orient="horz" pos="1570" userDrawn="1">
          <p15:clr>
            <a:srgbClr val="A4A3A4"/>
          </p15:clr>
        </p15:guide>
        <p15:guide id="90" orient="horz" pos="1298"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F8EE457-A788-1107-3B21-555A876A93CE}" name="7713" initials="7" userId="S::A7713@365v.me::43364eb3-1962-4a8e-9d3f-3e47b22239f8" providerId="AD"/>
  <p188:author id="{8F7E2789-BA1F-4CFC-DCC7-3CA0D04D8AE8}" name="STEPANCHENKO, D. (Dmitrii)" initials="SD(" userId="S::dmitrii.stepanchenko@ing.com::30c9d29d-ac41-46ff-b2be-c3f5dd1e26e1"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Андреев Даниил Юрьевич" initials="АДЮ [2]" lastIdx="3" clrIdx="6">
    <p:extLst>
      <p:ext uri="{19B8F6BF-5375-455C-9EA6-DF929625EA0E}">
        <p15:presenceInfo xmlns:p15="http://schemas.microsoft.com/office/powerpoint/2012/main" userId="S-1-5-21-12604286-1394344279-468603755-1270333" providerId="AD"/>
      </p:ext>
    </p:extLst>
  </p:cmAuthor>
  <p:cmAuthor id="1" name="Дрючевский Дмитрий Викторович" initials="ДДВ" lastIdx="1" clrIdx="0">
    <p:extLst>
      <p:ext uri="{19B8F6BF-5375-455C-9EA6-DF929625EA0E}">
        <p15:presenceInfo xmlns:p15="http://schemas.microsoft.com/office/powerpoint/2012/main" userId="Дрючевский Дмитрий Викторович" providerId="None"/>
      </p:ext>
    </p:extLst>
  </p:cmAuthor>
  <p:cmAuthor id="8" name="ДС" initials="ДС" lastIdx="6" clrIdx="7">
    <p:extLst>
      <p:ext uri="{19B8F6BF-5375-455C-9EA6-DF929625EA0E}">
        <p15:presenceInfo xmlns:p15="http://schemas.microsoft.com/office/powerpoint/2012/main" userId="ДС" providerId="None"/>
      </p:ext>
    </p:extLst>
  </p:cmAuthor>
  <p:cmAuthor id="2" name="Степанченко Дмитрий Сергеевич" initials="СДС" lastIdx="219" clrIdx="1">
    <p:extLst>
      <p:ext uri="{19B8F6BF-5375-455C-9EA6-DF929625EA0E}">
        <p15:presenceInfo xmlns:p15="http://schemas.microsoft.com/office/powerpoint/2012/main" userId="Степанченко Дмитрий Сергеевич" providerId="None"/>
      </p:ext>
    </p:extLst>
  </p:cmAuthor>
  <p:cmAuthor id="3" name="Андреев Даниил Юрьевич" initials="АДЮ" lastIdx="27" clrIdx="2">
    <p:extLst>
      <p:ext uri="{19B8F6BF-5375-455C-9EA6-DF929625EA0E}">
        <p15:presenceInfo xmlns:p15="http://schemas.microsoft.com/office/powerpoint/2012/main" userId="Андреев Даниил Юрьевич" providerId="None"/>
      </p:ext>
    </p:extLst>
  </p:cmAuthor>
  <p:cmAuthor id="4" name="Гостев Андрей Сергеевич" initials="ГАС" lastIdx="43" clrIdx="3">
    <p:extLst>
      <p:ext uri="{19B8F6BF-5375-455C-9EA6-DF929625EA0E}">
        <p15:presenceInfo xmlns:p15="http://schemas.microsoft.com/office/powerpoint/2012/main" userId="Гостев Андрей Сергеевич" providerId="None"/>
      </p:ext>
    </p:extLst>
  </p:cmAuthor>
  <p:cmAuthor id="5" name="Ростов Олег Евгеньевич" initials="РОЕ" lastIdx="30" clrIdx="4">
    <p:extLst>
      <p:ext uri="{19B8F6BF-5375-455C-9EA6-DF929625EA0E}">
        <p15:presenceInfo xmlns:p15="http://schemas.microsoft.com/office/powerpoint/2012/main" userId="Ростов Олег Евгеньевич" providerId="None"/>
      </p:ext>
    </p:extLst>
  </p:cmAuthor>
  <p:cmAuthor id="6" name="Соловьев Георгий Александрович" initials="СГА" lastIdx="3" clrIdx="5">
    <p:extLst>
      <p:ext uri="{19B8F6BF-5375-455C-9EA6-DF929625EA0E}">
        <p15:presenceInfo xmlns:p15="http://schemas.microsoft.com/office/powerpoint/2012/main" userId="Соловьев Георгий Александрович"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050"/>
    <a:srgbClr val="C55A11"/>
    <a:srgbClr val="1F4E79"/>
    <a:srgbClr val="5B9BD5"/>
    <a:srgbClr val="ED7D31"/>
    <a:srgbClr val="FF0E0E"/>
    <a:srgbClr val="7F7F7F"/>
    <a:srgbClr val="BB00DA"/>
    <a:srgbClr val="808080"/>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E496450-7D01-4B73-AA08-22F30639F919}" v="197" dt="2023-03-02T12:51:00.861"/>
  </p1510:revLst>
</p1510:revInfo>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Средний стиль 2 — акцент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C083E6E3-FA7D-4D7B-A595-EF9225AFEA82}" styleName="Светлый стиль 1 — акцент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D5ABB26-0587-4C30-8999-92F81FD0307C}" styleName="Нет стиля, нет сетки">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A488322-F2BA-4B5B-9748-0D474271808F}" styleName="Средний стиль 3 — акцент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D7AC3CCA-C797-4891-BE02-D94E43425B78}" styleName="Средний стиль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EB344D84-9AFB-497E-A393-DC336BA19D2E}" styleName="Средний стиль 3 — акцент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B301B821-A1FF-4177-AEE7-76D212191A09}" styleName="Средний стиль 1 — акцент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5940675A-B579-460E-94D1-54222C63F5DA}" styleName="Нет стиля, сетка таблиц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427" autoAdjust="0"/>
    <p:restoredTop sz="93979" autoAdjust="0"/>
  </p:normalViewPr>
  <p:slideViewPr>
    <p:cSldViewPr snapToGrid="0">
      <p:cViewPr varScale="1">
        <p:scale>
          <a:sx n="86" d="100"/>
          <a:sy n="86" d="100"/>
        </p:scale>
        <p:origin x="634" y="58"/>
      </p:cViewPr>
      <p:guideLst>
        <p:guide orient="horz" pos="1656"/>
        <p:guide/>
        <p:guide orient="horz" pos="3163"/>
        <p:guide pos="4679"/>
        <p:guide orient="horz" pos="2523"/>
        <p:guide orient="horz" pos="3816"/>
        <p:guide orient="horz" pos="1094"/>
        <p:guide pos="3840"/>
        <p:guide pos="6811"/>
        <p:guide pos="461"/>
        <p:guide pos="7605"/>
        <p:guide pos="1708"/>
        <p:guide orient="horz" pos="3012"/>
        <p:guide orient="horz" pos="1570"/>
        <p:guide orient="horz" pos="1298"/>
      </p:guideLst>
    </p:cSldViewPr>
  </p:slideViewPr>
  <p:outlineViewPr>
    <p:cViewPr>
      <p:scale>
        <a:sx n="33" d="100"/>
        <a:sy n="33" d="100"/>
      </p:scale>
      <p:origin x="0" y="0"/>
    </p:cViewPr>
  </p:outlineViewPr>
  <p:notesTextViewPr>
    <p:cViewPr>
      <p:scale>
        <a:sx n="110" d="100"/>
        <a:sy n="110" d="100"/>
      </p:scale>
      <p:origin x="0" y="0"/>
    </p:cViewPr>
  </p:notesTextViewPr>
  <p:notesViewPr>
    <p:cSldViewPr snapToGrid="0">
      <p:cViewPr varScale="1">
        <p:scale>
          <a:sx n="50" d="100"/>
          <a:sy n="50" d="100"/>
        </p:scale>
        <p:origin x="2640" y="3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notesMaster" Target="notesMasters/notesMaster1.xml"/><Relationship Id="rId18" Type="http://schemas.openxmlformats.org/officeDocument/2006/relationships/viewProps" Target="viewProps.xml"/><Relationship Id="rId3" Type="http://schemas.openxmlformats.org/officeDocument/2006/relationships/slideMaster" Target="slideMasters/slideMaster3.xml"/><Relationship Id="rId21" Type="http://schemas.microsoft.com/office/2016/11/relationships/changesInfo" Target="changesInfos/changesInfo1.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5" Type="http://schemas.openxmlformats.org/officeDocument/2006/relationships/slideMaster" Target="slideMasters/slideMaster5.xml"/><Relationship Id="rId15" Type="http://schemas.openxmlformats.org/officeDocument/2006/relationships/tags" Target="tags/tag1.xml"/><Relationship Id="rId23" Type="http://schemas.microsoft.com/office/2018/10/relationships/authors" Target="authors.xml"/><Relationship Id="rId10" Type="http://schemas.openxmlformats.org/officeDocument/2006/relationships/slide" Target="slides/slide3.xml"/><Relationship Id="rId19"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handoutMaster" Target="handoutMasters/handoutMaster1.xml"/><Relationship Id="rId22"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TEPANCHENKO, D. (Dmitrii)" userId="30c9d29d-ac41-46ff-b2be-c3f5dd1e26e1" providerId="ADAL" clId="{0D4D30D3-52F8-490C-8E8C-24DC58349B06}"/>
    <pc:docChg chg="undo redo custSel addSld delSld modSld sldOrd modSection">
      <pc:chgData name="STEPANCHENKO, D. (Dmitrii)" userId="30c9d29d-ac41-46ff-b2be-c3f5dd1e26e1" providerId="ADAL" clId="{0D4D30D3-52F8-490C-8E8C-24DC58349B06}" dt="2022-12-31T10:28:41.364" v="8161" actId="13926"/>
      <pc:docMkLst>
        <pc:docMk/>
      </pc:docMkLst>
      <pc:sldChg chg="modSp mod">
        <pc:chgData name="STEPANCHENKO, D. (Dmitrii)" userId="30c9d29d-ac41-46ff-b2be-c3f5dd1e26e1" providerId="ADAL" clId="{0D4D30D3-52F8-490C-8E8C-24DC58349B06}" dt="2022-12-22T12:48:30.071" v="3688" actId="6549"/>
        <pc:sldMkLst>
          <pc:docMk/>
          <pc:sldMk cId="1150082579" sldId="2134806261"/>
        </pc:sldMkLst>
        <pc:spChg chg="mod">
          <ac:chgData name="STEPANCHENKO, D. (Dmitrii)" userId="30c9d29d-ac41-46ff-b2be-c3f5dd1e26e1" providerId="ADAL" clId="{0D4D30D3-52F8-490C-8E8C-24DC58349B06}" dt="2022-12-22T12:48:30.071" v="3688" actId="6549"/>
          <ac:spMkLst>
            <pc:docMk/>
            <pc:sldMk cId="1150082579" sldId="2134806261"/>
            <ac:spMk id="7" creationId="{00000000-0000-0000-0000-000000000000}"/>
          </ac:spMkLst>
        </pc:spChg>
      </pc:sldChg>
      <pc:sldChg chg="addSp delSp modSp mod delAnim">
        <pc:chgData name="STEPANCHENKO, D. (Dmitrii)" userId="30c9d29d-ac41-46ff-b2be-c3f5dd1e26e1" providerId="ADAL" clId="{0D4D30D3-52F8-490C-8E8C-24DC58349B06}" dt="2022-12-31T10:21:30.044" v="7983" actId="27918"/>
        <pc:sldMkLst>
          <pc:docMk/>
          <pc:sldMk cId="826615147" sldId="2134806265"/>
        </pc:sldMkLst>
        <pc:graphicFrameChg chg="del mod">
          <ac:chgData name="STEPANCHENKO, D. (Dmitrii)" userId="30c9d29d-ac41-46ff-b2be-c3f5dd1e26e1" providerId="ADAL" clId="{0D4D30D3-52F8-490C-8E8C-24DC58349B06}" dt="2022-12-27T17:25:19.333" v="7169" actId="478"/>
          <ac:graphicFrameMkLst>
            <pc:docMk/>
            <pc:sldMk cId="826615147" sldId="2134806265"/>
            <ac:graphicFrameMk id="8" creationId="{00000000-0000-0000-0000-000000000000}"/>
          </ac:graphicFrameMkLst>
        </pc:graphicFrameChg>
        <pc:graphicFrameChg chg="add mod">
          <ac:chgData name="STEPANCHENKO, D. (Dmitrii)" userId="30c9d29d-ac41-46ff-b2be-c3f5dd1e26e1" providerId="ADAL" clId="{0D4D30D3-52F8-490C-8E8C-24DC58349B06}" dt="2022-12-27T17:28:32.210" v="7249" actId="20577"/>
          <ac:graphicFrameMkLst>
            <pc:docMk/>
            <pc:sldMk cId="826615147" sldId="2134806265"/>
            <ac:graphicFrameMk id="10" creationId="{C1650B40-7C97-475C-93CC-E7F2AD0C6074}"/>
          </ac:graphicFrameMkLst>
        </pc:graphicFrameChg>
      </pc:sldChg>
      <pc:sldChg chg="modSp mod">
        <pc:chgData name="STEPANCHENKO, D. (Dmitrii)" userId="30c9d29d-ac41-46ff-b2be-c3f5dd1e26e1" providerId="ADAL" clId="{0D4D30D3-52F8-490C-8E8C-24DC58349B06}" dt="2022-12-23T13:40:58.391" v="6370" actId="20577"/>
        <pc:sldMkLst>
          <pc:docMk/>
          <pc:sldMk cId="4146022198" sldId="2134806269"/>
        </pc:sldMkLst>
        <pc:spChg chg="mod">
          <ac:chgData name="STEPANCHENKO, D. (Dmitrii)" userId="30c9d29d-ac41-46ff-b2be-c3f5dd1e26e1" providerId="ADAL" clId="{0D4D30D3-52F8-490C-8E8C-24DC58349B06}" dt="2022-12-23T13:40:58.391" v="6370" actId="20577"/>
          <ac:spMkLst>
            <pc:docMk/>
            <pc:sldMk cId="4146022198" sldId="2134806269"/>
            <ac:spMk id="5" creationId="{81BD1123-3626-1C45-BF5B-1C1864FA8AFA}"/>
          </ac:spMkLst>
        </pc:spChg>
      </pc:sldChg>
      <pc:sldChg chg="addCm">
        <pc:chgData name="STEPANCHENKO, D. (Dmitrii)" userId="30c9d29d-ac41-46ff-b2be-c3f5dd1e26e1" providerId="ADAL" clId="{0D4D30D3-52F8-490C-8E8C-24DC58349B06}" dt="2022-12-22T10:08:14.113" v="2370"/>
        <pc:sldMkLst>
          <pc:docMk/>
          <pc:sldMk cId="1937308450" sldId="2134806270"/>
        </pc:sldMkLst>
      </pc:sldChg>
      <pc:sldChg chg="modSp mod">
        <pc:chgData name="STEPANCHENKO, D. (Dmitrii)" userId="30c9d29d-ac41-46ff-b2be-c3f5dd1e26e1" providerId="ADAL" clId="{0D4D30D3-52F8-490C-8E8C-24DC58349B06}" dt="2022-12-23T13:40:32.162" v="6358" actId="20577"/>
        <pc:sldMkLst>
          <pc:docMk/>
          <pc:sldMk cId="3806807723" sldId="2134806271"/>
        </pc:sldMkLst>
        <pc:spChg chg="mod">
          <ac:chgData name="STEPANCHENKO, D. (Dmitrii)" userId="30c9d29d-ac41-46ff-b2be-c3f5dd1e26e1" providerId="ADAL" clId="{0D4D30D3-52F8-490C-8E8C-24DC58349B06}" dt="2022-12-23T13:40:32.162" v="6358" actId="20577"/>
          <ac:spMkLst>
            <pc:docMk/>
            <pc:sldMk cId="3806807723" sldId="2134806271"/>
            <ac:spMk id="5" creationId="{81BD1123-3626-1C45-BF5B-1C1864FA8AFA}"/>
          </ac:spMkLst>
        </pc:spChg>
        <pc:graphicFrameChg chg="mod modGraphic">
          <ac:chgData name="STEPANCHENKO, D. (Dmitrii)" userId="30c9d29d-ac41-46ff-b2be-c3f5dd1e26e1" providerId="ADAL" clId="{0D4D30D3-52F8-490C-8E8C-24DC58349B06}" dt="2022-12-22T12:30:38.710" v="3516" actId="14100"/>
          <ac:graphicFrameMkLst>
            <pc:docMk/>
            <pc:sldMk cId="3806807723" sldId="2134806271"/>
            <ac:graphicFrameMk id="4" creationId="{4FA4670E-7F8F-F66C-8A96-9C378A643C68}"/>
          </ac:graphicFrameMkLst>
        </pc:graphicFrameChg>
      </pc:sldChg>
      <pc:sldChg chg="del ord">
        <pc:chgData name="STEPANCHENKO, D. (Dmitrii)" userId="30c9d29d-ac41-46ff-b2be-c3f5dd1e26e1" providerId="ADAL" clId="{0D4D30D3-52F8-490C-8E8C-24DC58349B06}" dt="2022-12-22T12:49:49.034" v="3691" actId="47"/>
        <pc:sldMkLst>
          <pc:docMk/>
          <pc:sldMk cId="465747562" sldId="2134806272"/>
        </pc:sldMkLst>
      </pc:sldChg>
      <pc:sldChg chg="del">
        <pc:chgData name="STEPANCHENKO, D. (Dmitrii)" userId="30c9d29d-ac41-46ff-b2be-c3f5dd1e26e1" providerId="ADAL" clId="{0D4D30D3-52F8-490C-8E8C-24DC58349B06}" dt="2022-12-22T12:49:50.216" v="3692" actId="47"/>
        <pc:sldMkLst>
          <pc:docMk/>
          <pc:sldMk cId="2131309805" sldId="2134806273"/>
        </pc:sldMkLst>
      </pc:sldChg>
      <pc:sldChg chg="del">
        <pc:chgData name="STEPANCHENKO, D. (Dmitrii)" userId="30c9d29d-ac41-46ff-b2be-c3f5dd1e26e1" providerId="ADAL" clId="{0D4D30D3-52F8-490C-8E8C-24DC58349B06}" dt="2022-12-22T12:59:01.396" v="3959" actId="47"/>
        <pc:sldMkLst>
          <pc:docMk/>
          <pc:sldMk cId="2186333978" sldId="2134806274"/>
        </pc:sldMkLst>
      </pc:sldChg>
      <pc:sldChg chg="modSp del mod">
        <pc:chgData name="STEPANCHENKO, D. (Dmitrii)" userId="30c9d29d-ac41-46ff-b2be-c3f5dd1e26e1" providerId="ADAL" clId="{0D4D30D3-52F8-490C-8E8C-24DC58349B06}" dt="2022-12-20T15:43:48.419" v="110" actId="47"/>
        <pc:sldMkLst>
          <pc:docMk/>
          <pc:sldMk cId="4005348636" sldId="2134806275"/>
        </pc:sldMkLst>
        <pc:spChg chg="mod">
          <ac:chgData name="STEPANCHENKO, D. (Dmitrii)" userId="30c9d29d-ac41-46ff-b2be-c3f5dd1e26e1" providerId="ADAL" clId="{0D4D30D3-52F8-490C-8E8C-24DC58349B06}" dt="2022-12-19T15:09:12.604" v="2" actId="20577"/>
          <ac:spMkLst>
            <pc:docMk/>
            <pc:sldMk cId="4005348636" sldId="2134806275"/>
            <ac:spMk id="5" creationId="{81BD1123-3626-1C45-BF5B-1C1864FA8AFA}"/>
          </ac:spMkLst>
        </pc:spChg>
      </pc:sldChg>
      <pc:sldChg chg="del">
        <pc:chgData name="STEPANCHENKO, D. (Dmitrii)" userId="30c9d29d-ac41-46ff-b2be-c3f5dd1e26e1" providerId="ADAL" clId="{0D4D30D3-52F8-490C-8E8C-24DC58349B06}" dt="2022-12-22T12:59:01.396" v="3959" actId="47"/>
        <pc:sldMkLst>
          <pc:docMk/>
          <pc:sldMk cId="1163832783" sldId="2134806276"/>
        </pc:sldMkLst>
      </pc:sldChg>
      <pc:sldChg chg="del">
        <pc:chgData name="STEPANCHENKO, D. (Dmitrii)" userId="30c9d29d-ac41-46ff-b2be-c3f5dd1e26e1" providerId="ADAL" clId="{0D4D30D3-52F8-490C-8E8C-24DC58349B06}" dt="2022-12-22T12:59:01.396" v="3959" actId="47"/>
        <pc:sldMkLst>
          <pc:docMk/>
          <pc:sldMk cId="1278494145" sldId="2134806277"/>
        </pc:sldMkLst>
      </pc:sldChg>
      <pc:sldChg chg="del">
        <pc:chgData name="STEPANCHENKO, D. (Dmitrii)" userId="30c9d29d-ac41-46ff-b2be-c3f5dd1e26e1" providerId="ADAL" clId="{0D4D30D3-52F8-490C-8E8C-24DC58349B06}" dt="2022-12-22T12:59:01.396" v="3959" actId="47"/>
        <pc:sldMkLst>
          <pc:docMk/>
          <pc:sldMk cId="4133406611" sldId="2134806278"/>
        </pc:sldMkLst>
      </pc:sldChg>
      <pc:sldChg chg="del">
        <pc:chgData name="STEPANCHENKO, D. (Dmitrii)" userId="30c9d29d-ac41-46ff-b2be-c3f5dd1e26e1" providerId="ADAL" clId="{0D4D30D3-52F8-490C-8E8C-24DC58349B06}" dt="2022-12-22T12:59:01.396" v="3959" actId="47"/>
        <pc:sldMkLst>
          <pc:docMk/>
          <pc:sldMk cId="420433722" sldId="2134806279"/>
        </pc:sldMkLst>
      </pc:sldChg>
      <pc:sldChg chg="del">
        <pc:chgData name="STEPANCHENKO, D. (Dmitrii)" userId="30c9d29d-ac41-46ff-b2be-c3f5dd1e26e1" providerId="ADAL" clId="{0D4D30D3-52F8-490C-8E8C-24DC58349B06}" dt="2022-12-22T12:59:01.396" v="3959" actId="47"/>
        <pc:sldMkLst>
          <pc:docMk/>
          <pc:sldMk cId="3644147675" sldId="2134806280"/>
        </pc:sldMkLst>
      </pc:sldChg>
      <pc:sldChg chg="del">
        <pc:chgData name="STEPANCHENKO, D. (Dmitrii)" userId="30c9d29d-ac41-46ff-b2be-c3f5dd1e26e1" providerId="ADAL" clId="{0D4D30D3-52F8-490C-8E8C-24DC58349B06}" dt="2022-12-22T12:59:01.396" v="3959" actId="47"/>
        <pc:sldMkLst>
          <pc:docMk/>
          <pc:sldMk cId="2384841978" sldId="2134806281"/>
        </pc:sldMkLst>
      </pc:sldChg>
      <pc:sldChg chg="del">
        <pc:chgData name="STEPANCHENKO, D. (Dmitrii)" userId="30c9d29d-ac41-46ff-b2be-c3f5dd1e26e1" providerId="ADAL" clId="{0D4D30D3-52F8-490C-8E8C-24DC58349B06}" dt="2022-12-22T12:59:01.396" v="3959" actId="47"/>
        <pc:sldMkLst>
          <pc:docMk/>
          <pc:sldMk cId="1359392184" sldId="2134806282"/>
        </pc:sldMkLst>
      </pc:sldChg>
      <pc:sldChg chg="del">
        <pc:chgData name="STEPANCHENKO, D. (Dmitrii)" userId="30c9d29d-ac41-46ff-b2be-c3f5dd1e26e1" providerId="ADAL" clId="{0D4D30D3-52F8-490C-8E8C-24DC58349B06}" dt="2022-12-22T12:59:01.396" v="3959" actId="47"/>
        <pc:sldMkLst>
          <pc:docMk/>
          <pc:sldMk cId="763459013" sldId="2134806283"/>
        </pc:sldMkLst>
      </pc:sldChg>
      <pc:sldChg chg="del">
        <pc:chgData name="STEPANCHENKO, D. (Dmitrii)" userId="30c9d29d-ac41-46ff-b2be-c3f5dd1e26e1" providerId="ADAL" clId="{0D4D30D3-52F8-490C-8E8C-24DC58349B06}" dt="2022-12-22T12:59:01.396" v="3959" actId="47"/>
        <pc:sldMkLst>
          <pc:docMk/>
          <pc:sldMk cId="597763636" sldId="2134806284"/>
        </pc:sldMkLst>
      </pc:sldChg>
      <pc:sldChg chg="del">
        <pc:chgData name="STEPANCHENKO, D. (Dmitrii)" userId="30c9d29d-ac41-46ff-b2be-c3f5dd1e26e1" providerId="ADAL" clId="{0D4D30D3-52F8-490C-8E8C-24DC58349B06}" dt="2022-12-22T12:59:01.396" v="3959" actId="47"/>
        <pc:sldMkLst>
          <pc:docMk/>
          <pc:sldMk cId="2611480545" sldId="2134806285"/>
        </pc:sldMkLst>
      </pc:sldChg>
      <pc:sldChg chg="del">
        <pc:chgData name="STEPANCHENKO, D. (Dmitrii)" userId="30c9d29d-ac41-46ff-b2be-c3f5dd1e26e1" providerId="ADAL" clId="{0D4D30D3-52F8-490C-8E8C-24DC58349B06}" dt="2022-12-22T12:59:01.396" v="3959" actId="47"/>
        <pc:sldMkLst>
          <pc:docMk/>
          <pc:sldMk cId="2681946265" sldId="2134806286"/>
        </pc:sldMkLst>
      </pc:sldChg>
      <pc:sldChg chg="del">
        <pc:chgData name="STEPANCHENKO, D. (Dmitrii)" userId="30c9d29d-ac41-46ff-b2be-c3f5dd1e26e1" providerId="ADAL" clId="{0D4D30D3-52F8-490C-8E8C-24DC58349B06}" dt="2022-12-22T12:59:01.396" v="3959" actId="47"/>
        <pc:sldMkLst>
          <pc:docMk/>
          <pc:sldMk cId="3215440964" sldId="2134806287"/>
        </pc:sldMkLst>
      </pc:sldChg>
      <pc:sldChg chg="modSp mod">
        <pc:chgData name="STEPANCHENKO, D. (Dmitrii)" userId="30c9d29d-ac41-46ff-b2be-c3f5dd1e26e1" providerId="ADAL" clId="{0D4D30D3-52F8-490C-8E8C-24DC58349B06}" dt="2022-12-20T15:43:53.119" v="114" actId="20577"/>
        <pc:sldMkLst>
          <pc:docMk/>
          <pc:sldMk cId="2322687294" sldId="2134806289"/>
        </pc:sldMkLst>
        <pc:spChg chg="mod">
          <ac:chgData name="STEPANCHENKO, D. (Dmitrii)" userId="30c9d29d-ac41-46ff-b2be-c3f5dd1e26e1" providerId="ADAL" clId="{0D4D30D3-52F8-490C-8E8C-24DC58349B06}" dt="2022-12-20T15:43:53.119" v="114" actId="20577"/>
          <ac:spMkLst>
            <pc:docMk/>
            <pc:sldMk cId="2322687294" sldId="2134806289"/>
            <ac:spMk id="5" creationId="{81BD1123-3626-1C45-BF5B-1C1864FA8AFA}"/>
          </ac:spMkLst>
        </pc:spChg>
      </pc:sldChg>
      <pc:sldChg chg="del">
        <pc:chgData name="STEPANCHENKO, D. (Dmitrii)" userId="30c9d29d-ac41-46ff-b2be-c3f5dd1e26e1" providerId="ADAL" clId="{0D4D30D3-52F8-490C-8E8C-24DC58349B06}" dt="2022-12-20T15:46:13.264" v="118" actId="47"/>
        <pc:sldMkLst>
          <pc:docMk/>
          <pc:sldMk cId="1645705839" sldId="2134806290"/>
        </pc:sldMkLst>
      </pc:sldChg>
      <pc:sldChg chg="modSp del mod">
        <pc:chgData name="STEPANCHENKO, D. (Dmitrii)" userId="30c9d29d-ac41-46ff-b2be-c3f5dd1e26e1" providerId="ADAL" clId="{0D4D30D3-52F8-490C-8E8C-24DC58349B06}" dt="2022-12-20T15:50:10.935" v="124" actId="47"/>
        <pc:sldMkLst>
          <pc:docMk/>
          <pc:sldMk cId="3032188021" sldId="2134806291"/>
        </pc:sldMkLst>
        <pc:picChg chg="mod">
          <ac:chgData name="STEPANCHENKO, D. (Dmitrii)" userId="30c9d29d-ac41-46ff-b2be-c3f5dd1e26e1" providerId="ADAL" clId="{0D4D30D3-52F8-490C-8E8C-24DC58349B06}" dt="2022-12-20T15:47:57.360" v="123" actId="1036"/>
          <ac:picMkLst>
            <pc:docMk/>
            <pc:sldMk cId="3032188021" sldId="2134806291"/>
            <ac:picMk id="3" creationId="{00000000-0000-0000-0000-000000000000}"/>
          </ac:picMkLst>
        </pc:picChg>
      </pc:sldChg>
      <pc:sldChg chg="del">
        <pc:chgData name="STEPANCHENKO, D. (Dmitrii)" userId="30c9d29d-ac41-46ff-b2be-c3f5dd1e26e1" providerId="ADAL" clId="{0D4D30D3-52F8-490C-8E8C-24DC58349B06}" dt="2022-12-20T15:50:10.935" v="124" actId="47"/>
        <pc:sldMkLst>
          <pc:docMk/>
          <pc:sldMk cId="1967090604" sldId="2134806292"/>
        </pc:sldMkLst>
      </pc:sldChg>
      <pc:sldChg chg="addSp delSp modSp mod delAnim modAnim">
        <pc:chgData name="STEPANCHENKO, D. (Dmitrii)" userId="30c9d29d-ac41-46ff-b2be-c3f5dd1e26e1" providerId="ADAL" clId="{0D4D30D3-52F8-490C-8E8C-24DC58349B06}" dt="2022-12-22T10:28:00.545" v="2467"/>
        <pc:sldMkLst>
          <pc:docMk/>
          <pc:sldMk cId="1987294738" sldId="2134806293"/>
        </pc:sldMkLst>
        <pc:spChg chg="mod">
          <ac:chgData name="STEPANCHENKO, D. (Dmitrii)" userId="30c9d29d-ac41-46ff-b2be-c3f5dd1e26e1" providerId="ADAL" clId="{0D4D30D3-52F8-490C-8E8C-24DC58349B06}" dt="2022-12-20T15:56:34.207" v="352" actId="20577"/>
          <ac:spMkLst>
            <pc:docMk/>
            <pc:sldMk cId="1987294738" sldId="2134806293"/>
            <ac:spMk id="5" creationId="{81BD1123-3626-1C45-BF5B-1C1864FA8AFA}"/>
          </ac:spMkLst>
        </pc:spChg>
        <pc:spChg chg="add del mod">
          <ac:chgData name="STEPANCHENKO, D. (Dmitrii)" userId="30c9d29d-ac41-46ff-b2be-c3f5dd1e26e1" providerId="ADAL" clId="{0D4D30D3-52F8-490C-8E8C-24DC58349B06}" dt="2022-12-20T16:19:14.249" v="1053" actId="478"/>
          <ac:spMkLst>
            <pc:docMk/>
            <pc:sldMk cId="1987294738" sldId="2134806293"/>
            <ac:spMk id="6" creationId="{0FF84AE5-C9A0-4DE9-B4E8-D87E7C2518FA}"/>
          </ac:spMkLst>
        </pc:spChg>
        <pc:spChg chg="add mod">
          <ac:chgData name="STEPANCHENKO, D. (Dmitrii)" userId="30c9d29d-ac41-46ff-b2be-c3f5dd1e26e1" providerId="ADAL" clId="{0D4D30D3-52F8-490C-8E8C-24DC58349B06}" dt="2022-12-22T10:28:00.545" v="2467"/>
          <ac:spMkLst>
            <pc:docMk/>
            <pc:sldMk cId="1987294738" sldId="2134806293"/>
            <ac:spMk id="10" creationId="{A6E92ECF-270A-44BB-8587-F040D6AE0666}"/>
          </ac:spMkLst>
        </pc:spChg>
        <pc:spChg chg="add mod">
          <ac:chgData name="STEPANCHENKO, D. (Dmitrii)" userId="30c9d29d-ac41-46ff-b2be-c3f5dd1e26e1" providerId="ADAL" clId="{0D4D30D3-52F8-490C-8E8C-24DC58349B06}" dt="2022-12-20T16:27:41.348" v="1386" actId="208"/>
          <ac:spMkLst>
            <pc:docMk/>
            <pc:sldMk cId="1987294738" sldId="2134806293"/>
            <ac:spMk id="11" creationId="{4A89C080-E02A-4114-9A18-64ED1A28D56E}"/>
          </ac:spMkLst>
        </pc:spChg>
        <pc:spChg chg="add mod">
          <ac:chgData name="STEPANCHENKO, D. (Dmitrii)" userId="30c9d29d-ac41-46ff-b2be-c3f5dd1e26e1" providerId="ADAL" clId="{0D4D30D3-52F8-490C-8E8C-24DC58349B06}" dt="2022-12-20T16:21:40.471" v="1205" actId="20577"/>
          <ac:spMkLst>
            <pc:docMk/>
            <pc:sldMk cId="1987294738" sldId="2134806293"/>
            <ac:spMk id="12" creationId="{5BECD0C1-26C4-4E02-BB63-25E01F272DF2}"/>
          </ac:spMkLst>
        </pc:spChg>
        <pc:spChg chg="add mod">
          <ac:chgData name="STEPANCHENKO, D. (Dmitrii)" userId="30c9d29d-ac41-46ff-b2be-c3f5dd1e26e1" providerId="ADAL" clId="{0D4D30D3-52F8-490C-8E8C-24DC58349B06}" dt="2022-12-20T16:26:33.454" v="1362" actId="20577"/>
          <ac:spMkLst>
            <pc:docMk/>
            <pc:sldMk cId="1987294738" sldId="2134806293"/>
            <ac:spMk id="13" creationId="{4D660AA7-3162-4D46-B4E1-8000203E46DB}"/>
          </ac:spMkLst>
        </pc:spChg>
        <pc:graphicFrameChg chg="add del mod">
          <ac:chgData name="STEPANCHENKO, D. (Dmitrii)" userId="30c9d29d-ac41-46ff-b2be-c3f5dd1e26e1" providerId="ADAL" clId="{0D4D30D3-52F8-490C-8E8C-24DC58349B06}" dt="2022-12-20T16:34:38.870" v="1398"/>
          <ac:graphicFrameMkLst>
            <pc:docMk/>
            <pc:sldMk cId="1987294738" sldId="2134806293"/>
            <ac:graphicFrameMk id="14" creationId="{D1851D2D-DE16-444C-B780-CA148C9D8928}"/>
          </ac:graphicFrameMkLst>
        </pc:graphicFrameChg>
        <pc:picChg chg="del mod">
          <ac:chgData name="STEPANCHENKO, D. (Dmitrii)" userId="30c9d29d-ac41-46ff-b2be-c3f5dd1e26e1" providerId="ADAL" clId="{0D4D30D3-52F8-490C-8E8C-24DC58349B06}" dt="2022-12-20T16:18:08.958" v="988" actId="478"/>
          <ac:picMkLst>
            <pc:docMk/>
            <pc:sldMk cId="1987294738" sldId="2134806293"/>
            <ac:picMk id="3" creationId="{00000000-0000-0000-0000-000000000000}"/>
          </ac:picMkLst>
        </pc:picChg>
        <pc:picChg chg="add mod">
          <ac:chgData name="STEPANCHENKO, D. (Dmitrii)" userId="30c9d29d-ac41-46ff-b2be-c3f5dd1e26e1" providerId="ADAL" clId="{0D4D30D3-52F8-490C-8E8C-24DC58349B06}" dt="2022-12-20T16:18:15.786" v="990" actId="1076"/>
          <ac:picMkLst>
            <pc:docMk/>
            <pc:sldMk cId="1987294738" sldId="2134806293"/>
            <ac:picMk id="7" creationId="{DA22D0AB-A3F3-4384-959B-21FC75464F37}"/>
          </ac:picMkLst>
        </pc:picChg>
        <pc:picChg chg="add mod">
          <ac:chgData name="STEPANCHENKO, D. (Dmitrii)" userId="30c9d29d-ac41-46ff-b2be-c3f5dd1e26e1" providerId="ADAL" clId="{0D4D30D3-52F8-490C-8E8C-24DC58349B06}" dt="2022-12-20T16:26:45.244" v="1364" actId="14100"/>
          <ac:picMkLst>
            <pc:docMk/>
            <pc:sldMk cId="1987294738" sldId="2134806293"/>
            <ac:picMk id="9" creationId="{D4025C18-5336-4476-B071-56F399D22E06}"/>
          </ac:picMkLst>
        </pc:picChg>
      </pc:sldChg>
      <pc:sldChg chg="addSp delSp modSp del mod">
        <pc:chgData name="STEPANCHENKO, D. (Dmitrii)" userId="30c9d29d-ac41-46ff-b2be-c3f5dd1e26e1" providerId="ADAL" clId="{0D4D30D3-52F8-490C-8E8C-24DC58349B06}" dt="2022-12-22T12:31:20.916" v="3519" actId="47"/>
        <pc:sldMkLst>
          <pc:docMk/>
          <pc:sldMk cId="768855087" sldId="2134806294"/>
        </pc:sldMkLst>
        <pc:spChg chg="mod">
          <ac:chgData name="STEPANCHENKO, D. (Dmitrii)" userId="30c9d29d-ac41-46ff-b2be-c3f5dd1e26e1" providerId="ADAL" clId="{0D4D30D3-52F8-490C-8E8C-24DC58349B06}" dt="2022-12-20T16:42:06.943" v="1810" actId="20577"/>
          <ac:spMkLst>
            <pc:docMk/>
            <pc:sldMk cId="768855087" sldId="2134806294"/>
            <ac:spMk id="5" creationId="{81BD1123-3626-1C45-BF5B-1C1864FA8AFA}"/>
          </ac:spMkLst>
        </pc:spChg>
        <pc:spChg chg="add del mod">
          <ac:chgData name="STEPANCHENKO, D. (Dmitrii)" userId="30c9d29d-ac41-46ff-b2be-c3f5dd1e26e1" providerId="ADAL" clId="{0D4D30D3-52F8-490C-8E8C-24DC58349B06}" dt="2022-12-20T16:42:07.005" v="1812" actId="1076"/>
          <ac:spMkLst>
            <pc:docMk/>
            <pc:sldMk cId="768855087" sldId="2134806294"/>
            <ac:spMk id="6" creationId="{1CF3E204-C5F7-485E-8060-F34F0D0DEBBF}"/>
          </ac:spMkLst>
        </pc:spChg>
        <pc:picChg chg="add del">
          <ac:chgData name="STEPANCHENKO, D. (Dmitrii)" userId="30c9d29d-ac41-46ff-b2be-c3f5dd1e26e1" providerId="ADAL" clId="{0D4D30D3-52F8-490C-8E8C-24DC58349B06}" dt="2022-12-20T16:42:06.665" v="1802" actId="478"/>
          <ac:picMkLst>
            <pc:docMk/>
            <pc:sldMk cId="768855087" sldId="2134806294"/>
            <ac:picMk id="3" creationId="{00000000-0000-0000-0000-000000000000}"/>
          </ac:picMkLst>
        </pc:picChg>
      </pc:sldChg>
      <pc:sldChg chg="del">
        <pc:chgData name="STEPANCHENKO, D. (Dmitrii)" userId="30c9d29d-ac41-46ff-b2be-c3f5dd1e26e1" providerId="ADAL" clId="{0D4D30D3-52F8-490C-8E8C-24DC58349B06}" dt="2022-12-22T12:49:44.626" v="3689" actId="47"/>
        <pc:sldMkLst>
          <pc:docMk/>
          <pc:sldMk cId="2786211852" sldId="2134806295"/>
        </pc:sldMkLst>
      </pc:sldChg>
      <pc:sldChg chg="del">
        <pc:chgData name="STEPANCHENKO, D. (Dmitrii)" userId="30c9d29d-ac41-46ff-b2be-c3f5dd1e26e1" providerId="ADAL" clId="{0D4D30D3-52F8-490C-8E8C-24DC58349B06}" dt="2022-12-22T12:49:47.744" v="3690" actId="47"/>
        <pc:sldMkLst>
          <pc:docMk/>
          <pc:sldMk cId="4029849662" sldId="2134806296"/>
        </pc:sldMkLst>
      </pc:sldChg>
      <pc:sldChg chg="del ord">
        <pc:chgData name="STEPANCHENKO, D. (Dmitrii)" userId="30c9d29d-ac41-46ff-b2be-c3f5dd1e26e1" providerId="ADAL" clId="{0D4D30D3-52F8-490C-8E8C-24DC58349B06}" dt="2022-12-22T12:59:01.396" v="3959" actId="47"/>
        <pc:sldMkLst>
          <pc:docMk/>
          <pc:sldMk cId="159284185" sldId="2134806297"/>
        </pc:sldMkLst>
      </pc:sldChg>
      <pc:sldChg chg="del">
        <pc:chgData name="STEPANCHENKO, D. (Dmitrii)" userId="30c9d29d-ac41-46ff-b2be-c3f5dd1e26e1" providerId="ADAL" clId="{0D4D30D3-52F8-490C-8E8C-24DC58349B06}" dt="2022-12-22T12:59:01.396" v="3959" actId="47"/>
        <pc:sldMkLst>
          <pc:docMk/>
          <pc:sldMk cId="393586463" sldId="2134806299"/>
        </pc:sldMkLst>
      </pc:sldChg>
      <pc:sldChg chg="del">
        <pc:chgData name="STEPANCHENKO, D. (Dmitrii)" userId="30c9d29d-ac41-46ff-b2be-c3f5dd1e26e1" providerId="ADAL" clId="{0D4D30D3-52F8-490C-8E8C-24DC58349B06}" dt="2022-12-22T12:59:01.396" v="3959" actId="47"/>
        <pc:sldMkLst>
          <pc:docMk/>
          <pc:sldMk cId="3261876613" sldId="2134806300"/>
        </pc:sldMkLst>
      </pc:sldChg>
      <pc:sldChg chg="del">
        <pc:chgData name="STEPANCHENKO, D. (Dmitrii)" userId="30c9d29d-ac41-46ff-b2be-c3f5dd1e26e1" providerId="ADAL" clId="{0D4D30D3-52F8-490C-8E8C-24DC58349B06}" dt="2022-12-22T12:59:01.396" v="3959" actId="47"/>
        <pc:sldMkLst>
          <pc:docMk/>
          <pc:sldMk cId="1378941183" sldId="2134806301"/>
        </pc:sldMkLst>
      </pc:sldChg>
      <pc:sldChg chg="del">
        <pc:chgData name="STEPANCHENKO, D. (Dmitrii)" userId="30c9d29d-ac41-46ff-b2be-c3f5dd1e26e1" providerId="ADAL" clId="{0D4D30D3-52F8-490C-8E8C-24DC58349B06}" dt="2022-12-22T12:59:01.396" v="3959" actId="47"/>
        <pc:sldMkLst>
          <pc:docMk/>
          <pc:sldMk cId="751992006" sldId="2134806302"/>
        </pc:sldMkLst>
      </pc:sldChg>
      <pc:sldChg chg="del">
        <pc:chgData name="STEPANCHENKO, D. (Dmitrii)" userId="30c9d29d-ac41-46ff-b2be-c3f5dd1e26e1" providerId="ADAL" clId="{0D4D30D3-52F8-490C-8E8C-24DC58349B06}" dt="2022-12-22T12:59:01.396" v="3959" actId="47"/>
        <pc:sldMkLst>
          <pc:docMk/>
          <pc:sldMk cId="1179045703" sldId="2134806303"/>
        </pc:sldMkLst>
      </pc:sldChg>
      <pc:sldChg chg="del">
        <pc:chgData name="STEPANCHENKO, D. (Dmitrii)" userId="30c9d29d-ac41-46ff-b2be-c3f5dd1e26e1" providerId="ADAL" clId="{0D4D30D3-52F8-490C-8E8C-24DC58349B06}" dt="2022-12-22T12:59:01.396" v="3959" actId="47"/>
        <pc:sldMkLst>
          <pc:docMk/>
          <pc:sldMk cId="3935444841" sldId="2134806304"/>
        </pc:sldMkLst>
      </pc:sldChg>
      <pc:sldChg chg="del">
        <pc:chgData name="STEPANCHENKO, D. (Dmitrii)" userId="30c9d29d-ac41-46ff-b2be-c3f5dd1e26e1" providerId="ADAL" clId="{0D4D30D3-52F8-490C-8E8C-24DC58349B06}" dt="2022-12-22T12:59:01.396" v="3959" actId="47"/>
        <pc:sldMkLst>
          <pc:docMk/>
          <pc:sldMk cId="2553354500" sldId="2134806305"/>
        </pc:sldMkLst>
      </pc:sldChg>
      <pc:sldChg chg="del">
        <pc:chgData name="STEPANCHENKO, D. (Dmitrii)" userId="30c9d29d-ac41-46ff-b2be-c3f5dd1e26e1" providerId="ADAL" clId="{0D4D30D3-52F8-490C-8E8C-24DC58349B06}" dt="2022-12-22T12:59:01.396" v="3959" actId="47"/>
        <pc:sldMkLst>
          <pc:docMk/>
          <pc:sldMk cId="996619461" sldId="2134806306"/>
        </pc:sldMkLst>
      </pc:sldChg>
      <pc:sldChg chg="del">
        <pc:chgData name="STEPANCHENKO, D. (Dmitrii)" userId="30c9d29d-ac41-46ff-b2be-c3f5dd1e26e1" providerId="ADAL" clId="{0D4D30D3-52F8-490C-8E8C-24DC58349B06}" dt="2022-12-22T12:59:01.396" v="3959" actId="47"/>
        <pc:sldMkLst>
          <pc:docMk/>
          <pc:sldMk cId="4134940107" sldId="2134806307"/>
        </pc:sldMkLst>
      </pc:sldChg>
      <pc:sldChg chg="del">
        <pc:chgData name="STEPANCHENKO, D. (Dmitrii)" userId="30c9d29d-ac41-46ff-b2be-c3f5dd1e26e1" providerId="ADAL" clId="{0D4D30D3-52F8-490C-8E8C-24DC58349B06}" dt="2022-12-22T12:59:01.396" v="3959" actId="47"/>
        <pc:sldMkLst>
          <pc:docMk/>
          <pc:sldMk cId="2968128511" sldId="2134806308"/>
        </pc:sldMkLst>
      </pc:sldChg>
      <pc:sldChg chg="del">
        <pc:chgData name="STEPANCHENKO, D. (Dmitrii)" userId="30c9d29d-ac41-46ff-b2be-c3f5dd1e26e1" providerId="ADAL" clId="{0D4D30D3-52F8-490C-8E8C-24DC58349B06}" dt="2022-12-22T12:59:01.396" v="3959" actId="47"/>
        <pc:sldMkLst>
          <pc:docMk/>
          <pc:sldMk cId="1648649634" sldId="2134806309"/>
        </pc:sldMkLst>
      </pc:sldChg>
      <pc:sldChg chg="del">
        <pc:chgData name="STEPANCHENKO, D. (Dmitrii)" userId="30c9d29d-ac41-46ff-b2be-c3f5dd1e26e1" providerId="ADAL" clId="{0D4D30D3-52F8-490C-8E8C-24DC58349B06}" dt="2022-12-22T12:59:01.396" v="3959" actId="47"/>
        <pc:sldMkLst>
          <pc:docMk/>
          <pc:sldMk cId="3572535388" sldId="2134806310"/>
        </pc:sldMkLst>
      </pc:sldChg>
      <pc:sldChg chg="del">
        <pc:chgData name="STEPANCHENKO, D. (Dmitrii)" userId="30c9d29d-ac41-46ff-b2be-c3f5dd1e26e1" providerId="ADAL" clId="{0D4D30D3-52F8-490C-8E8C-24DC58349B06}" dt="2022-12-22T12:59:01.396" v="3959" actId="47"/>
        <pc:sldMkLst>
          <pc:docMk/>
          <pc:sldMk cId="1975556139" sldId="2134806311"/>
        </pc:sldMkLst>
      </pc:sldChg>
      <pc:sldChg chg="del">
        <pc:chgData name="STEPANCHENKO, D. (Dmitrii)" userId="30c9d29d-ac41-46ff-b2be-c3f5dd1e26e1" providerId="ADAL" clId="{0D4D30D3-52F8-490C-8E8C-24DC58349B06}" dt="2022-12-22T12:59:01.396" v="3959" actId="47"/>
        <pc:sldMkLst>
          <pc:docMk/>
          <pc:sldMk cId="3387427612" sldId="2134806312"/>
        </pc:sldMkLst>
      </pc:sldChg>
      <pc:sldChg chg="del">
        <pc:chgData name="STEPANCHENKO, D. (Dmitrii)" userId="30c9d29d-ac41-46ff-b2be-c3f5dd1e26e1" providerId="ADAL" clId="{0D4D30D3-52F8-490C-8E8C-24DC58349B06}" dt="2022-12-22T12:59:01.396" v="3959" actId="47"/>
        <pc:sldMkLst>
          <pc:docMk/>
          <pc:sldMk cId="2008184749" sldId="2134806313"/>
        </pc:sldMkLst>
      </pc:sldChg>
      <pc:sldChg chg="del">
        <pc:chgData name="STEPANCHENKO, D. (Dmitrii)" userId="30c9d29d-ac41-46ff-b2be-c3f5dd1e26e1" providerId="ADAL" clId="{0D4D30D3-52F8-490C-8E8C-24DC58349B06}" dt="2022-12-22T12:59:01.396" v="3959" actId="47"/>
        <pc:sldMkLst>
          <pc:docMk/>
          <pc:sldMk cId="2034877266" sldId="2134806315"/>
        </pc:sldMkLst>
      </pc:sldChg>
      <pc:sldChg chg="del">
        <pc:chgData name="STEPANCHENKO, D. (Dmitrii)" userId="30c9d29d-ac41-46ff-b2be-c3f5dd1e26e1" providerId="ADAL" clId="{0D4D30D3-52F8-490C-8E8C-24DC58349B06}" dt="2022-12-22T12:59:01.396" v="3959" actId="47"/>
        <pc:sldMkLst>
          <pc:docMk/>
          <pc:sldMk cId="1174979796" sldId="2134806316"/>
        </pc:sldMkLst>
      </pc:sldChg>
      <pc:sldChg chg="modSp mod">
        <pc:chgData name="STEPANCHENKO, D. (Dmitrii)" userId="30c9d29d-ac41-46ff-b2be-c3f5dd1e26e1" providerId="ADAL" clId="{0D4D30D3-52F8-490C-8E8C-24DC58349B06}" dt="2022-12-20T15:18:35.965" v="90" actId="20577"/>
        <pc:sldMkLst>
          <pc:docMk/>
          <pc:sldMk cId="860713518" sldId="2134806317"/>
        </pc:sldMkLst>
        <pc:spChg chg="mod">
          <ac:chgData name="STEPANCHENKO, D. (Dmitrii)" userId="30c9d29d-ac41-46ff-b2be-c3f5dd1e26e1" providerId="ADAL" clId="{0D4D30D3-52F8-490C-8E8C-24DC58349B06}" dt="2022-12-20T15:18:35.965" v="90" actId="20577"/>
          <ac:spMkLst>
            <pc:docMk/>
            <pc:sldMk cId="860713518" sldId="2134806317"/>
            <ac:spMk id="6" creationId="{CA023485-E4D0-17B0-F130-39357FD06C63}"/>
          </ac:spMkLst>
        </pc:spChg>
      </pc:sldChg>
      <pc:sldChg chg="modSp mod">
        <pc:chgData name="STEPANCHENKO, D. (Dmitrii)" userId="30c9d29d-ac41-46ff-b2be-c3f5dd1e26e1" providerId="ADAL" clId="{0D4D30D3-52F8-490C-8E8C-24DC58349B06}" dt="2022-12-23T13:40:46.057" v="6364" actId="20577"/>
        <pc:sldMkLst>
          <pc:docMk/>
          <pc:sldMk cId="2401638851" sldId="2134806322"/>
        </pc:sldMkLst>
        <pc:spChg chg="mod">
          <ac:chgData name="STEPANCHENKO, D. (Dmitrii)" userId="30c9d29d-ac41-46ff-b2be-c3f5dd1e26e1" providerId="ADAL" clId="{0D4D30D3-52F8-490C-8E8C-24DC58349B06}" dt="2022-12-23T13:40:46.057" v="6364" actId="20577"/>
          <ac:spMkLst>
            <pc:docMk/>
            <pc:sldMk cId="2401638851" sldId="2134806322"/>
            <ac:spMk id="2" creationId="{00000000-0000-0000-0000-000000000000}"/>
          </ac:spMkLst>
        </pc:spChg>
        <pc:spChg chg="mod">
          <ac:chgData name="STEPANCHENKO, D. (Dmitrii)" userId="30c9d29d-ac41-46ff-b2be-c3f5dd1e26e1" providerId="ADAL" clId="{0D4D30D3-52F8-490C-8E8C-24DC58349B06}" dt="2022-12-22T12:54:13.802" v="3846" actId="20577"/>
          <ac:spMkLst>
            <pc:docMk/>
            <pc:sldMk cId="2401638851" sldId="2134806322"/>
            <ac:spMk id="7" creationId="{00000000-0000-0000-0000-000000000000}"/>
          </ac:spMkLst>
        </pc:spChg>
      </pc:sldChg>
      <pc:sldChg chg="modSp mod">
        <pc:chgData name="STEPANCHENKO, D. (Dmitrii)" userId="30c9d29d-ac41-46ff-b2be-c3f5dd1e26e1" providerId="ADAL" clId="{0D4D30D3-52F8-490C-8E8C-24DC58349B06}" dt="2022-12-19T15:54:29.375" v="14" actId="14100"/>
        <pc:sldMkLst>
          <pc:docMk/>
          <pc:sldMk cId="2685767378" sldId="2134806323"/>
        </pc:sldMkLst>
        <pc:picChg chg="mod">
          <ac:chgData name="STEPANCHENKO, D. (Dmitrii)" userId="30c9d29d-ac41-46ff-b2be-c3f5dd1e26e1" providerId="ADAL" clId="{0D4D30D3-52F8-490C-8E8C-24DC58349B06}" dt="2022-12-19T15:54:29.375" v="14" actId="14100"/>
          <ac:picMkLst>
            <pc:docMk/>
            <pc:sldMk cId="2685767378" sldId="2134806323"/>
            <ac:picMk id="8" creationId="{859F07BF-952C-5522-F3B4-D6BDC8ADDAEF}"/>
          </ac:picMkLst>
        </pc:picChg>
      </pc:sldChg>
      <pc:sldChg chg="modSp add del mod modShow">
        <pc:chgData name="STEPANCHENKO, D. (Dmitrii)" userId="30c9d29d-ac41-46ff-b2be-c3f5dd1e26e1" providerId="ADAL" clId="{0D4D30D3-52F8-490C-8E8C-24DC58349B06}" dt="2022-12-20T15:38:15.334" v="98" actId="47"/>
        <pc:sldMkLst>
          <pc:docMk/>
          <pc:sldMk cId="4070705944" sldId="2134806325"/>
        </pc:sldMkLst>
        <pc:spChg chg="mod">
          <ac:chgData name="STEPANCHENKO, D. (Dmitrii)" userId="30c9d29d-ac41-46ff-b2be-c3f5dd1e26e1" providerId="ADAL" clId="{0D4D30D3-52F8-490C-8E8C-24DC58349B06}" dt="2022-12-19T15:09:16.360" v="5" actId="20577"/>
          <ac:spMkLst>
            <pc:docMk/>
            <pc:sldMk cId="4070705944" sldId="2134806325"/>
            <ac:spMk id="5" creationId="{81BD1123-3626-1C45-BF5B-1C1864FA8AFA}"/>
          </ac:spMkLst>
        </pc:spChg>
      </pc:sldChg>
      <pc:sldChg chg="addSp delSp modSp add del mod ord">
        <pc:chgData name="STEPANCHENKO, D. (Dmitrii)" userId="30c9d29d-ac41-46ff-b2be-c3f5dd1e26e1" providerId="ADAL" clId="{0D4D30D3-52F8-490C-8E8C-24DC58349B06}" dt="2022-12-31T09:54:41.024" v="7683" actId="20577"/>
        <pc:sldMkLst>
          <pc:docMk/>
          <pc:sldMk cId="521703837" sldId="2134806326"/>
        </pc:sldMkLst>
        <pc:spChg chg="mod">
          <ac:chgData name="STEPANCHENKO, D. (Dmitrii)" userId="30c9d29d-ac41-46ff-b2be-c3f5dd1e26e1" providerId="ADAL" clId="{0D4D30D3-52F8-490C-8E8C-24DC58349B06}" dt="2022-12-22T10:23:47.305" v="2402" actId="20577"/>
          <ac:spMkLst>
            <pc:docMk/>
            <pc:sldMk cId="521703837" sldId="2134806326"/>
            <ac:spMk id="5" creationId="{81BD1123-3626-1C45-BF5B-1C1864FA8AFA}"/>
          </ac:spMkLst>
        </pc:spChg>
        <pc:spChg chg="mod">
          <ac:chgData name="STEPANCHENKO, D. (Dmitrii)" userId="30c9d29d-ac41-46ff-b2be-c3f5dd1e26e1" providerId="ADAL" clId="{0D4D30D3-52F8-490C-8E8C-24DC58349B06}" dt="2022-12-22T10:27:56.484" v="2466" actId="20577"/>
          <ac:spMkLst>
            <pc:docMk/>
            <pc:sldMk cId="521703837" sldId="2134806326"/>
            <ac:spMk id="6" creationId="{55DC015C-12FE-A55C-DF36-68759984506F}"/>
          </ac:spMkLst>
        </pc:spChg>
        <pc:spChg chg="mod">
          <ac:chgData name="STEPANCHENKO, D. (Dmitrii)" userId="30c9d29d-ac41-46ff-b2be-c3f5dd1e26e1" providerId="ADAL" clId="{0D4D30D3-52F8-490C-8E8C-24DC58349B06}" dt="2022-12-31T09:35:49.419" v="7368" actId="1036"/>
          <ac:spMkLst>
            <pc:docMk/>
            <pc:sldMk cId="521703837" sldId="2134806326"/>
            <ac:spMk id="8" creationId="{9EBC456F-B5A9-419C-BE04-72F06FDA7584}"/>
          </ac:spMkLst>
        </pc:spChg>
        <pc:spChg chg="add del mod">
          <ac:chgData name="STEPANCHENKO, D. (Dmitrii)" userId="30c9d29d-ac41-46ff-b2be-c3f5dd1e26e1" providerId="ADAL" clId="{0D4D30D3-52F8-490C-8E8C-24DC58349B06}" dt="2022-12-31T09:54:41.024" v="7683" actId="20577"/>
          <ac:spMkLst>
            <pc:docMk/>
            <pc:sldMk cId="521703837" sldId="2134806326"/>
            <ac:spMk id="9" creationId="{5EC41978-1730-74B4-27A0-640FFDB857C0}"/>
          </ac:spMkLst>
        </pc:spChg>
        <pc:spChg chg="add del mod">
          <ac:chgData name="STEPANCHENKO, D. (Dmitrii)" userId="30c9d29d-ac41-46ff-b2be-c3f5dd1e26e1" providerId="ADAL" clId="{0D4D30D3-52F8-490C-8E8C-24DC58349B06}" dt="2022-12-22T10:58:33.416" v="2962" actId="478"/>
          <ac:spMkLst>
            <pc:docMk/>
            <pc:sldMk cId="521703837" sldId="2134806326"/>
            <ac:spMk id="10" creationId="{806A6482-8A70-492E-A503-E30CF4A1A76F}"/>
          </ac:spMkLst>
        </pc:spChg>
        <pc:spChg chg="add mod">
          <ac:chgData name="STEPANCHENKO, D. (Dmitrii)" userId="30c9d29d-ac41-46ff-b2be-c3f5dd1e26e1" providerId="ADAL" clId="{0D4D30D3-52F8-490C-8E8C-24DC58349B06}" dt="2022-12-31T09:35:49.419" v="7368" actId="1036"/>
          <ac:spMkLst>
            <pc:docMk/>
            <pc:sldMk cId="521703837" sldId="2134806326"/>
            <ac:spMk id="12" creationId="{620F6558-3CC6-4F30-B3B7-548CD84FF264}"/>
          </ac:spMkLst>
        </pc:spChg>
        <pc:spChg chg="add mod">
          <ac:chgData name="STEPANCHENKO, D. (Dmitrii)" userId="30c9d29d-ac41-46ff-b2be-c3f5dd1e26e1" providerId="ADAL" clId="{0D4D30D3-52F8-490C-8E8C-24DC58349B06}" dt="2022-12-31T09:36:27.774" v="7376" actId="14100"/>
          <ac:spMkLst>
            <pc:docMk/>
            <pc:sldMk cId="521703837" sldId="2134806326"/>
            <ac:spMk id="13" creationId="{16BA56AD-B511-423F-BF15-E0DDC142DC6C}"/>
          </ac:spMkLst>
        </pc:spChg>
        <pc:graphicFrameChg chg="mod">
          <ac:chgData name="STEPANCHENKO, D. (Dmitrii)" userId="30c9d29d-ac41-46ff-b2be-c3f5dd1e26e1" providerId="ADAL" clId="{0D4D30D3-52F8-490C-8E8C-24DC58349B06}" dt="2022-12-31T09:35:49.419" v="7368" actId="1036"/>
          <ac:graphicFrameMkLst>
            <pc:docMk/>
            <pc:sldMk cId="521703837" sldId="2134806326"/>
            <ac:graphicFrameMk id="4" creationId="{11CFC757-5727-5D67-8831-9EC4CE6B6F84}"/>
          </ac:graphicFrameMkLst>
        </pc:graphicFrameChg>
        <pc:graphicFrameChg chg="mod">
          <ac:chgData name="STEPANCHENKO, D. (Dmitrii)" userId="30c9d29d-ac41-46ff-b2be-c3f5dd1e26e1" providerId="ADAL" clId="{0D4D30D3-52F8-490C-8E8C-24DC58349B06}" dt="2022-12-31T09:35:49.419" v="7368" actId="1036"/>
          <ac:graphicFrameMkLst>
            <pc:docMk/>
            <pc:sldMk cId="521703837" sldId="2134806326"/>
            <ac:graphicFrameMk id="11" creationId="{B2FF438D-1B50-288E-3939-8606CECB8F6D}"/>
          </ac:graphicFrameMkLst>
        </pc:graphicFrameChg>
        <pc:picChg chg="add mod">
          <ac:chgData name="STEPANCHENKO, D. (Dmitrii)" userId="30c9d29d-ac41-46ff-b2be-c3f5dd1e26e1" providerId="ADAL" clId="{0D4D30D3-52F8-490C-8E8C-24DC58349B06}" dt="2022-12-31T09:35:49.419" v="7368" actId="1036"/>
          <ac:picMkLst>
            <pc:docMk/>
            <pc:sldMk cId="521703837" sldId="2134806326"/>
            <ac:picMk id="7" creationId="{8625A218-042A-4189-9755-9777A62C5EA6}"/>
          </ac:picMkLst>
        </pc:picChg>
      </pc:sldChg>
      <pc:sldChg chg="addSp delSp modSp add mod">
        <pc:chgData name="STEPANCHENKO, D. (Dmitrii)" userId="30c9d29d-ac41-46ff-b2be-c3f5dd1e26e1" providerId="ADAL" clId="{0D4D30D3-52F8-490C-8E8C-24DC58349B06}" dt="2022-12-22T10:01:56.921" v="2369" actId="20577"/>
        <pc:sldMkLst>
          <pc:docMk/>
          <pc:sldMk cId="1383993538" sldId="2134806327"/>
        </pc:sldMkLst>
        <pc:spChg chg="mod">
          <ac:chgData name="STEPANCHENKO, D. (Dmitrii)" userId="30c9d29d-ac41-46ff-b2be-c3f5dd1e26e1" providerId="ADAL" clId="{0D4D30D3-52F8-490C-8E8C-24DC58349B06}" dt="2022-12-22T09:45:58.758" v="1964" actId="20577"/>
          <ac:spMkLst>
            <pc:docMk/>
            <pc:sldMk cId="1383993538" sldId="2134806327"/>
            <ac:spMk id="5" creationId="{81BD1123-3626-1C45-BF5B-1C1864FA8AFA}"/>
          </ac:spMkLst>
        </pc:spChg>
        <pc:spChg chg="add mod">
          <ac:chgData name="STEPANCHENKO, D. (Dmitrii)" userId="30c9d29d-ac41-46ff-b2be-c3f5dd1e26e1" providerId="ADAL" clId="{0D4D30D3-52F8-490C-8E8C-24DC58349B06}" dt="2022-12-22T10:01:56.921" v="2369" actId="20577"/>
          <ac:spMkLst>
            <pc:docMk/>
            <pc:sldMk cId="1383993538" sldId="2134806327"/>
            <ac:spMk id="8" creationId="{5DECFFF7-4DDD-4DFE-AF09-04E3986FCD1F}"/>
          </ac:spMkLst>
        </pc:spChg>
        <pc:spChg chg="add mod">
          <ac:chgData name="STEPANCHENKO, D. (Dmitrii)" userId="30c9d29d-ac41-46ff-b2be-c3f5dd1e26e1" providerId="ADAL" clId="{0D4D30D3-52F8-490C-8E8C-24DC58349B06}" dt="2022-12-22T10:01:17.126" v="2349" actId="1076"/>
          <ac:spMkLst>
            <pc:docMk/>
            <pc:sldMk cId="1383993538" sldId="2134806327"/>
            <ac:spMk id="10" creationId="{52B6EE28-6B94-4077-8B54-07A0416DBEFA}"/>
          </ac:spMkLst>
        </pc:spChg>
        <pc:spChg chg="del">
          <ac:chgData name="STEPANCHENKO, D. (Dmitrii)" userId="30c9d29d-ac41-46ff-b2be-c3f5dd1e26e1" providerId="ADAL" clId="{0D4D30D3-52F8-490C-8E8C-24DC58349B06}" dt="2022-12-20T16:34:44.640" v="1400" actId="478"/>
          <ac:spMkLst>
            <pc:docMk/>
            <pc:sldMk cId="1383993538" sldId="2134806327"/>
            <ac:spMk id="11" creationId="{4A89C080-E02A-4114-9A18-64ED1A28D56E}"/>
          </ac:spMkLst>
        </pc:spChg>
        <pc:spChg chg="del">
          <ac:chgData name="STEPANCHENKO, D. (Dmitrii)" userId="30c9d29d-ac41-46ff-b2be-c3f5dd1e26e1" providerId="ADAL" clId="{0D4D30D3-52F8-490C-8E8C-24DC58349B06}" dt="2022-12-20T16:34:44.640" v="1400" actId="478"/>
          <ac:spMkLst>
            <pc:docMk/>
            <pc:sldMk cId="1383993538" sldId="2134806327"/>
            <ac:spMk id="12" creationId="{5BECD0C1-26C4-4E02-BB63-25E01F272DF2}"/>
          </ac:spMkLst>
        </pc:spChg>
        <pc:spChg chg="del">
          <ac:chgData name="STEPANCHENKO, D. (Dmitrii)" userId="30c9d29d-ac41-46ff-b2be-c3f5dd1e26e1" providerId="ADAL" clId="{0D4D30D3-52F8-490C-8E8C-24DC58349B06}" dt="2022-12-20T16:34:44.640" v="1400" actId="478"/>
          <ac:spMkLst>
            <pc:docMk/>
            <pc:sldMk cId="1383993538" sldId="2134806327"/>
            <ac:spMk id="13" creationId="{4D660AA7-3162-4D46-B4E1-8000203E46DB}"/>
          </ac:spMkLst>
        </pc:spChg>
        <pc:graphicFrameChg chg="add del mod modGraphic">
          <ac:chgData name="STEPANCHENKO, D. (Dmitrii)" userId="30c9d29d-ac41-46ff-b2be-c3f5dd1e26e1" providerId="ADAL" clId="{0D4D30D3-52F8-490C-8E8C-24DC58349B06}" dt="2022-12-20T16:36:16.328" v="1510" actId="478"/>
          <ac:graphicFrameMkLst>
            <pc:docMk/>
            <pc:sldMk cId="1383993538" sldId="2134806327"/>
            <ac:graphicFrameMk id="10" creationId="{3310C69A-4A59-409C-B749-7558BA926B2A}"/>
          </ac:graphicFrameMkLst>
        </pc:graphicFrameChg>
        <pc:graphicFrameChg chg="add del mod modGraphic">
          <ac:chgData name="STEPANCHENKO, D. (Dmitrii)" userId="30c9d29d-ac41-46ff-b2be-c3f5dd1e26e1" providerId="ADAL" clId="{0D4D30D3-52F8-490C-8E8C-24DC58349B06}" dt="2022-12-22T09:45:47.617" v="1919" actId="478"/>
          <ac:graphicFrameMkLst>
            <pc:docMk/>
            <pc:sldMk cId="1383993538" sldId="2134806327"/>
            <ac:graphicFrameMk id="14" creationId="{C5F7A9A8-78D1-454D-96FA-2A934AA6F49F}"/>
          </ac:graphicFrameMkLst>
        </pc:graphicFrameChg>
        <pc:picChg chg="add del mod">
          <ac:chgData name="STEPANCHENKO, D. (Dmitrii)" userId="30c9d29d-ac41-46ff-b2be-c3f5dd1e26e1" providerId="ADAL" clId="{0D4D30D3-52F8-490C-8E8C-24DC58349B06}" dt="2022-12-22T09:48:24.263" v="1970" actId="478"/>
          <ac:picMkLst>
            <pc:docMk/>
            <pc:sldMk cId="1383993538" sldId="2134806327"/>
            <ac:picMk id="6" creationId="{6325DA81-834F-46E0-85C1-8409AF1941DA}"/>
          </ac:picMkLst>
        </pc:picChg>
        <pc:picChg chg="add del mod">
          <ac:chgData name="STEPANCHENKO, D. (Dmitrii)" userId="30c9d29d-ac41-46ff-b2be-c3f5dd1e26e1" providerId="ADAL" clId="{0D4D30D3-52F8-490C-8E8C-24DC58349B06}" dt="2022-12-22T09:48:24.263" v="1970" actId="478"/>
          <ac:picMkLst>
            <pc:docMk/>
            <pc:sldMk cId="1383993538" sldId="2134806327"/>
            <ac:picMk id="7" creationId="{2244AFB4-AA32-4AF0-B985-4ABE4B9B2953}"/>
          </ac:picMkLst>
        </pc:picChg>
        <pc:picChg chg="del">
          <ac:chgData name="STEPANCHENKO, D. (Dmitrii)" userId="30c9d29d-ac41-46ff-b2be-c3f5dd1e26e1" providerId="ADAL" clId="{0D4D30D3-52F8-490C-8E8C-24DC58349B06}" dt="2022-12-20T16:34:44.640" v="1400" actId="478"/>
          <ac:picMkLst>
            <pc:docMk/>
            <pc:sldMk cId="1383993538" sldId="2134806327"/>
            <ac:picMk id="7" creationId="{DA22D0AB-A3F3-4384-959B-21FC75464F37}"/>
          </ac:picMkLst>
        </pc:picChg>
        <pc:picChg chg="del">
          <ac:chgData name="STEPANCHENKO, D. (Dmitrii)" userId="30c9d29d-ac41-46ff-b2be-c3f5dd1e26e1" providerId="ADAL" clId="{0D4D30D3-52F8-490C-8E8C-24DC58349B06}" dt="2022-12-20T16:34:44.640" v="1400" actId="478"/>
          <ac:picMkLst>
            <pc:docMk/>
            <pc:sldMk cId="1383993538" sldId="2134806327"/>
            <ac:picMk id="9" creationId="{D4025C18-5336-4476-B071-56F399D22E06}"/>
          </ac:picMkLst>
        </pc:picChg>
      </pc:sldChg>
      <pc:sldChg chg="new del">
        <pc:chgData name="STEPANCHENKO, D. (Dmitrii)" userId="30c9d29d-ac41-46ff-b2be-c3f5dd1e26e1" providerId="ADAL" clId="{0D4D30D3-52F8-490C-8E8C-24DC58349B06}" dt="2022-12-22T09:45:41.975" v="1917" actId="47"/>
        <pc:sldMkLst>
          <pc:docMk/>
          <pc:sldMk cId="1508052118" sldId="2134806328"/>
        </pc:sldMkLst>
      </pc:sldChg>
      <pc:sldChg chg="add del">
        <pc:chgData name="STEPANCHENKO, D. (Dmitrii)" userId="30c9d29d-ac41-46ff-b2be-c3f5dd1e26e1" providerId="ADAL" clId="{0D4D30D3-52F8-490C-8E8C-24DC58349B06}" dt="2022-12-20T16:34:46.210" v="1402"/>
        <pc:sldMkLst>
          <pc:docMk/>
          <pc:sldMk cId="2630810749" sldId="2134806328"/>
        </pc:sldMkLst>
      </pc:sldChg>
      <pc:sldChg chg="modSp add mod ord">
        <pc:chgData name="STEPANCHENKO, D. (Dmitrii)" userId="30c9d29d-ac41-46ff-b2be-c3f5dd1e26e1" providerId="ADAL" clId="{0D4D30D3-52F8-490C-8E8C-24DC58349B06}" dt="2022-12-23T13:41:21.500" v="6394" actId="20577"/>
        <pc:sldMkLst>
          <pc:docMk/>
          <pc:sldMk cId="3352262577" sldId="2134806328"/>
        </pc:sldMkLst>
        <pc:spChg chg="mod">
          <ac:chgData name="STEPANCHENKO, D. (Dmitrii)" userId="30c9d29d-ac41-46ff-b2be-c3f5dd1e26e1" providerId="ADAL" clId="{0D4D30D3-52F8-490C-8E8C-24DC58349B06}" dt="2022-12-23T13:41:21.500" v="6394" actId="20577"/>
          <ac:spMkLst>
            <pc:docMk/>
            <pc:sldMk cId="3352262577" sldId="2134806328"/>
            <ac:spMk id="5" creationId="{81BD1123-3626-1C45-BF5B-1C1864FA8AFA}"/>
          </ac:spMkLst>
        </pc:spChg>
        <pc:graphicFrameChg chg="mod modGraphic">
          <ac:chgData name="STEPANCHENKO, D. (Dmitrii)" userId="30c9d29d-ac41-46ff-b2be-c3f5dd1e26e1" providerId="ADAL" clId="{0D4D30D3-52F8-490C-8E8C-24DC58349B06}" dt="2022-12-22T12:30:47.127" v="3518" actId="14100"/>
          <ac:graphicFrameMkLst>
            <pc:docMk/>
            <pc:sldMk cId="3352262577" sldId="2134806328"/>
            <ac:graphicFrameMk id="14" creationId="{C5F7A9A8-78D1-454D-96FA-2A934AA6F49F}"/>
          </ac:graphicFrameMkLst>
        </pc:graphicFrameChg>
      </pc:sldChg>
      <pc:sldChg chg="addSp delSp modSp add mod ord">
        <pc:chgData name="STEPANCHENKO, D. (Dmitrii)" userId="30c9d29d-ac41-46ff-b2be-c3f5dd1e26e1" providerId="ADAL" clId="{0D4D30D3-52F8-490C-8E8C-24DC58349B06}" dt="2022-12-22T12:17:14.334" v="3143" actId="6549"/>
        <pc:sldMkLst>
          <pc:docMk/>
          <pc:sldMk cId="3274818839" sldId="2134806329"/>
        </pc:sldMkLst>
        <pc:spChg chg="mod">
          <ac:chgData name="STEPANCHENKO, D. (Dmitrii)" userId="30c9d29d-ac41-46ff-b2be-c3f5dd1e26e1" providerId="ADAL" clId="{0D4D30D3-52F8-490C-8E8C-24DC58349B06}" dt="2022-12-22T10:24:08.500" v="2409" actId="20577"/>
          <ac:spMkLst>
            <pc:docMk/>
            <pc:sldMk cId="3274818839" sldId="2134806329"/>
            <ac:spMk id="5" creationId="{81BD1123-3626-1C45-BF5B-1C1864FA8AFA}"/>
          </ac:spMkLst>
        </pc:spChg>
        <pc:spChg chg="add mod">
          <ac:chgData name="STEPANCHENKO, D. (Dmitrii)" userId="30c9d29d-ac41-46ff-b2be-c3f5dd1e26e1" providerId="ADAL" clId="{0D4D30D3-52F8-490C-8E8C-24DC58349B06}" dt="2022-12-22T12:17:14.334" v="3143" actId="6549"/>
          <ac:spMkLst>
            <pc:docMk/>
            <pc:sldMk cId="3274818839" sldId="2134806329"/>
            <ac:spMk id="7" creationId="{05E61C94-C306-46A7-941B-5C78E82C67F8}"/>
          </ac:spMkLst>
        </pc:spChg>
        <pc:spChg chg="add mod">
          <ac:chgData name="STEPANCHENKO, D. (Dmitrii)" userId="30c9d29d-ac41-46ff-b2be-c3f5dd1e26e1" providerId="ADAL" clId="{0D4D30D3-52F8-490C-8E8C-24DC58349B06}" dt="2022-12-22T10:56:57.999" v="2881" actId="20577"/>
          <ac:spMkLst>
            <pc:docMk/>
            <pc:sldMk cId="3274818839" sldId="2134806329"/>
            <ac:spMk id="8" creationId="{02AC0575-0834-48E1-901C-A185C8F7BA93}"/>
          </ac:spMkLst>
        </pc:spChg>
        <pc:spChg chg="add mod">
          <ac:chgData name="STEPANCHENKO, D. (Dmitrii)" userId="30c9d29d-ac41-46ff-b2be-c3f5dd1e26e1" providerId="ADAL" clId="{0D4D30D3-52F8-490C-8E8C-24DC58349B06}" dt="2022-12-22T10:28:02.702" v="2468"/>
          <ac:spMkLst>
            <pc:docMk/>
            <pc:sldMk cId="3274818839" sldId="2134806329"/>
            <ac:spMk id="9" creationId="{D9CA27D6-38EA-4E0D-9C2A-932B2942330F}"/>
          </ac:spMkLst>
        </pc:spChg>
        <pc:graphicFrameChg chg="del">
          <ac:chgData name="STEPANCHENKO, D. (Dmitrii)" userId="30c9d29d-ac41-46ff-b2be-c3f5dd1e26e1" providerId="ADAL" clId="{0D4D30D3-52F8-490C-8E8C-24DC58349B06}" dt="2022-12-22T10:19:53.785" v="2382" actId="478"/>
          <ac:graphicFrameMkLst>
            <pc:docMk/>
            <pc:sldMk cId="3274818839" sldId="2134806329"/>
            <ac:graphicFrameMk id="14" creationId="{C5F7A9A8-78D1-454D-96FA-2A934AA6F49F}"/>
          </ac:graphicFrameMkLst>
        </pc:graphicFrameChg>
        <pc:picChg chg="add del">
          <ac:chgData name="STEPANCHENKO, D. (Dmitrii)" userId="30c9d29d-ac41-46ff-b2be-c3f5dd1e26e1" providerId="ADAL" clId="{0D4D30D3-52F8-490C-8E8C-24DC58349B06}" dt="2022-12-22T10:26:03.226" v="2411" actId="478"/>
          <ac:picMkLst>
            <pc:docMk/>
            <pc:sldMk cId="3274818839" sldId="2134806329"/>
            <ac:picMk id="4" creationId="{FCE43CE5-2785-46DD-8F61-6B883E176F83}"/>
          </ac:picMkLst>
        </pc:picChg>
      </pc:sldChg>
      <pc:sldChg chg="addSp delSp modSp add mod ord">
        <pc:chgData name="STEPANCHENKO, D. (Dmitrii)" userId="30c9d29d-ac41-46ff-b2be-c3f5dd1e26e1" providerId="ADAL" clId="{0D4D30D3-52F8-490C-8E8C-24DC58349B06}" dt="2022-12-22T13:14:00.894" v="4032" actId="478"/>
        <pc:sldMkLst>
          <pc:docMk/>
          <pc:sldMk cId="3089211194" sldId="2134806330"/>
        </pc:sldMkLst>
        <pc:spChg chg="mod">
          <ac:chgData name="STEPANCHENKO, D. (Dmitrii)" userId="30c9d29d-ac41-46ff-b2be-c3f5dd1e26e1" providerId="ADAL" clId="{0D4D30D3-52F8-490C-8E8C-24DC58349B06}" dt="2022-12-22T13:13:55.824" v="4031" actId="20577"/>
          <ac:spMkLst>
            <pc:docMk/>
            <pc:sldMk cId="3089211194" sldId="2134806330"/>
            <ac:spMk id="5" creationId="{81BD1123-3626-1C45-BF5B-1C1864FA8AFA}"/>
          </ac:spMkLst>
        </pc:spChg>
        <pc:spChg chg="add del mod">
          <ac:chgData name="STEPANCHENKO, D. (Dmitrii)" userId="30c9d29d-ac41-46ff-b2be-c3f5dd1e26e1" providerId="ADAL" clId="{0D4D30D3-52F8-490C-8E8C-24DC58349B06}" dt="2022-12-22T13:14:00.894" v="4032" actId="478"/>
          <ac:spMkLst>
            <pc:docMk/>
            <pc:sldMk cId="3089211194" sldId="2134806330"/>
            <ac:spMk id="15" creationId="{AEDD12B7-EF75-4635-9E48-3DA9BFBD6BB8}"/>
          </ac:spMkLst>
        </pc:spChg>
        <pc:spChg chg="del">
          <ac:chgData name="STEPANCHENKO, D. (Dmitrii)" userId="30c9d29d-ac41-46ff-b2be-c3f5dd1e26e1" providerId="ADAL" clId="{0D4D30D3-52F8-490C-8E8C-24DC58349B06}" dt="2022-12-22T13:14:00.894" v="4032" actId="478"/>
          <ac:spMkLst>
            <pc:docMk/>
            <pc:sldMk cId="3089211194" sldId="2134806330"/>
            <ac:spMk id="17" creationId="{BD69FFC3-98E2-981F-8355-D6A1F4013CC8}"/>
          </ac:spMkLst>
        </pc:spChg>
        <pc:spChg chg="del">
          <ac:chgData name="STEPANCHENKO, D. (Dmitrii)" userId="30c9d29d-ac41-46ff-b2be-c3f5dd1e26e1" providerId="ADAL" clId="{0D4D30D3-52F8-490C-8E8C-24DC58349B06}" dt="2022-12-22T12:42:28.808" v="3607" actId="478"/>
          <ac:spMkLst>
            <pc:docMk/>
            <pc:sldMk cId="3089211194" sldId="2134806330"/>
            <ac:spMk id="28" creationId="{680C9532-9059-68DF-88F9-42B190D45C92}"/>
          </ac:spMkLst>
        </pc:spChg>
        <pc:graphicFrameChg chg="del">
          <ac:chgData name="STEPANCHENKO, D. (Dmitrii)" userId="30c9d29d-ac41-46ff-b2be-c3f5dd1e26e1" providerId="ADAL" clId="{0D4D30D3-52F8-490C-8E8C-24DC58349B06}" dt="2022-12-22T12:42:28.808" v="3607" actId="478"/>
          <ac:graphicFrameMkLst>
            <pc:docMk/>
            <pc:sldMk cId="3089211194" sldId="2134806330"/>
            <ac:graphicFrameMk id="29" creationId="{D105480F-C095-4C97-9245-C3CB74424EC1}"/>
          </ac:graphicFrameMkLst>
        </pc:graphicFrameChg>
        <pc:picChg chg="add del mod">
          <ac:chgData name="STEPANCHENKO, D. (Dmitrii)" userId="30c9d29d-ac41-46ff-b2be-c3f5dd1e26e1" providerId="ADAL" clId="{0D4D30D3-52F8-490C-8E8C-24DC58349B06}" dt="2022-12-22T13:14:00.894" v="4032" actId="478"/>
          <ac:picMkLst>
            <pc:docMk/>
            <pc:sldMk cId="3089211194" sldId="2134806330"/>
            <ac:picMk id="4" creationId="{39109EAB-2ACB-4AC2-AA98-9595D9FA2C8D}"/>
          </ac:picMkLst>
        </pc:picChg>
        <pc:picChg chg="add del mod">
          <ac:chgData name="STEPANCHENKO, D. (Dmitrii)" userId="30c9d29d-ac41-46ff-b2be-c3f5dd1e26e1" providerId="ADAL" clId="{0D4D30D3-52F8-490C-8E8C-24DC58349B06}" dt="2022-12-22T12:44:48.015" v="3650" actId="478"/>
          <ac:picMkLst>
            <pc:docMk/>
            <pc:sldMk cId="3089211194" sldId="2134806330"/>
            <ac:picMk id="7" creationId="{7E473968-9248-4AAC-B185-175C0DEE9F63}"/>
          </ac:picMkLst>
        </pc:picChg>
        <pc:picChg chg="add del mod">
          <ac:chgData name="STEPANCHENKO, D. (Dmitrii)" userId="30c9d29d-ac41-46ff-b2be-c3f5dd1e26e1" providerId="ADAL" clId="{0D4D30D3-52F8-490C-8E8C-24DC58349B06}" dt="2022-12-22T12:46:54.387" v="3668" actId="478"/>
          <ac:picMkLst>
            <pc:docMk/>
            <pc:sldMk cId="3089211194" sldId="2134806330"/>
            <ac:picMk id="8" creationId="{1264D458-508B-4F86-A3FA-1CF6C406C5A9}"/>
          </ac:picMkLst>
        </pc:picChg>
        <pc:picChg chg="add del mod">
          <ac:chgData name="STEPANCHENKO, D. (Dmitrii)" userId="30c9d29d-ac41-46ff-b2be-c3f5dd1e26e1" providerId="ADAL" clId="{0D4D30D3-52F8-490C-8E8C-24DC58349B06}" dt="2022-12-22T12:46:56.283" v="3669" actId="478"/>
          <ac:picMkLst>
            <pc:docMk/>
            <pc:sldMk cId="3089211194" sldId="2134806330"/>
            <ac:picMk id="9" creationId="{B63965E4-7809-411A-A056-94F8D612204B}"/>
          </ac:picMkLst>
        </pc:picChg>
        <pc:picChg chg="add del mod">
          <ac:chgData name="STEPANCHENKO, D. (Dmitrii)" userId="30c9d29d-ac41-46ff-b2be-c3f5dd1e26e1" providerId="ADAL" clId="{0D4D30D3-52F8-490C-8E8C-24DC58349B06}" dt="2022-12-22T13:14:00.894" v="4032" actId="478"/>
          <ac:picMkLst>
            <pc:docMk/>
            <pc:sldMk cId="3089211194" sldId="2134806330"/>
            <ac:picMk id="10" creationId="{CC7C69E1-721E-4E62-ABFA-548AF492420D}"/>
          </ac:picMkLst>
        </pc:picChg>
      </pc:sldChg>
      <pc:sldChg chg="modSp add mod">
        <pc:chgData name="STEPANCHENKO, D. (Dmitrii)" userId="30c9d29d-ac41-46ff-b2be-c3f5dd1e26e1" providerId="ADAL" clId="{0D4D30D3-52F8-490C-8E8C-24DC58349B06}" dt="2022-12-22T12:58:31.559" v="3958" actId="20577"/>
        <pc:sldMkLst>
          <pc:docMk/>
          <pc:sldMk cId="4127393553" sldId="2134806331"/>
        </pc:sldMkLst>
        <pc:spChg chg="mod">
          <ac:chgData name="STEPANCHENKO, D. (Dmitrii)" userId="30c9d29d-ac41-46ff-b2be-c3f5dd1e26e1" providerId="ADAL" clId="{0D4D30D3-52F8-490C-8E8C-24DC58349B06}" dt="2022-12-22T12:58:31.559" v="3958" actId="20577"/>
          <ac:spMkLst>
            <pc:docMk/>
            <pc:sldMk cId="4127393553" sldId="2134806331"/>
            <ac:spMk id="2" creationId="{00000000-0000-0000-0000-000000000000}"/>
          </ac:spMkLst>
        </pc:spChg>
        <pc:spChg chg="mod">
          <ac:chgData name="STEPANCHENKO, D. (Dmitrii)" userId="30c9d29d-ac41-46ff-b2be-c3f5dd1e26e1" providerId="ADAL" clId="{0D4D30D3-52F8-490C-8E8C-24DC58349B06}" dt="2022-12-22T12:50:25.559" v="3712" actId="20577"/>
          <ac:spMkLst>
            <pc:docMk/>
            <pc:sldMk cId="4127393553" sldId="2134806331"/>
            <ac:spMk id="7" creationId="{00000000-0000-0000-0000-000000000000}"/>
          </ac:spMkLst>
        </pc:spChg>
      </pc:sldChg>
      <pc:sldChg chg="addSp delSp modSp add mod">
        <pc:chgData name="STEPANCHENKO, D. (Dmitrii)" userId="30c9d29d-ac41-46ff-b2be-c3f5dd1e26e1" providerId="ADAL" clId="{0D4D30D3-52F8-490C-8E8C-24DC58349B06}" dt="2022-12-23T10:47:58.908" v="4128"/>
        <pc:sldMkLst>
          <pc:docMk/>
          <pc:sldMk cId="962056861" sldId="2134806332"/>
        </pc:sldMkLst>
        <pc:spChg chg="del mod">
          <ac:chgData name="STEPANCHENKO, D. (Dmitrii)" userId="30c9d29d-ac41-46ff-b2be-c3f5dd1e26e1" providerId="ADAL" clId="{0D4D30D3-52F8-490C-8E8C-24DC58349B06}" dt="2022-12-23T10:43:45.895" v="4034" actId="478"/>
          <ac:spMkLst>
            <pc:docMk/>
            <pc:sldMk cId="962056861" sldId="2134806332"/>
            <ac:spMk id="5" creationId="{81BD1123-3626-1C45-BF5B-1C1864FA8AFA}"/>
          </ac:spMkLst>
        </pc:spChg>
        <pc:spChg chg="del mod">
          <ac:chgData name="STEPANCHENKO, D. (Dmitrii)" userId="30c9d29d-ac41-46ff-b2be-c3f5dd1e26e1" providerId="ADAL" clId="{0D4D30D3-52F8-490C-8E8C-24DC58349B06}" dt="2022-12-23T10:43:44.457" v="4033" actId="478"/>
          <ac:spMkLst>
            <pc:docMk/>
            <pc:sldMk cId="962056861" sldId="2134806332"/>
            <ac:spMk id="8" creationId="{5DECFFF7-4DDD-4DFE-AF09-04E3986FCD1F}"/>
          </ac:spMkLst>
        </pc:spChg>
        <pc:spChg chg="del">
          <ac:chgData name="STEPANCHENKO, D. (Dmitrii)" userId="30c9d29d-ac41-46ff-b2be-c3f5dd1e26e1" providerId="ADAL" clId="{0D4D30D3-52F8-490C-8E8C-24DC58349B06}" dt="2022-12-23T10:44:30.792" v="4037" actId="478"/>
          <ac:spMkLst>
            <pc:docMk/>
            <pc:sldMk cId="962056861" sldId="2134806332"/>
            <ac:spMk id="10" creationId="{52B6EE28-6B94-4077-8B54-07A0416DBEFA}"/>
          </ac:spMkLst>
        </pc:spChg>
        <pc:spChg chg="add del mod">
          <ac:chgData name="STEPANCHENKO, D. (Dmitrii)" userId="30c9d29d-ac41-46ff-b2be-c3f5dd1e26e1" providerId="ADAL" clId="{0D4D30D3-52F8-490C-8E8C-24DC58349B06}" dt="2022-12-23T10:47:54.106" v="4127" actId="478"/>
          <ac:spMkLst>
            <pc:docMk/>
            <pc:sldMk cId="962056861" sldId="2134806332"/>
            <ac:spMk id="11" creationId="{BB09950D-C344-43B8-8019-0E0EE3D809D4}"/>
          </ac:spMkLst>
        </pc:spChg>
        <pc:spChg chg="add mod">
          <ac:chgData name="STEPANCHENKO, D. (Dmitrii)" userId="30c9d29d-ac41-46ff-b2be-c3f5dd1e26e1" providerId="ADAL" clId="{0D4D30D3-52F8-490C-8E8C-24DC58349B06}" dt="2022-12-23T10:47:58.908" v="4128"/>
          <ac:spMkLst>
            <pc:docMk/>
            <pc:sldMk cId="962056861" sldId="2134806332"/>
            <ac:spMk id="12" creationId="{9B3FF94C-B48C-4D1A-B38D-47E676254B88}"/>
          </ac:spMkLst>
        </pc:spChg>
        <pc:picChg chg="add del mod">
          <ac:chgData name="STEPANCHENKO, D. (Dmitrii)" userId="30c9d29d-ac41-46ff-b2be-c3f5dd1e26e1" providerId="ADAL" clId="{0D4D30D3-52F8-490C-8E8C-24DC58349B06}" dt="2022-12-23T10:45:02.776" v="4066" actId="478"/>
          <ac:picMkLst>
            <pc:docMk/>
            <pc:sldMk cId="962056861" sldId="2134806332"/>
            <ac:picMk id="4" creationId="{2B940A62-2EE7-4206-B5E2-8982646A6448}"/>
          </ac:picMkLst>
        </pc:picChg>
        <pc:picChg chg="add mod">
          <ac:chgData name="STEPANCHENKO, D. (Dmitrii)" userId="30c9d29d-ac41-46ff-b2be-c3f5dd1e26e1" providerId="ADAL" clId="{0D4D30D3-52F8-490C-8E8C-24DC58349B06}" dt="2022-12-23T10:45:16.157" v="4068" actId="1076"/>
          <ac:picMkLst>
            <pc:docMk/>
            <pc:sldMk cId="962056861" sldId="2134806332"/>
            <ac:picMk id="7" creationId="{20299033-72A7-4916-923F-7D116B1D796D}"/>
          </ac:picMkLst>
        </pc:picChg>
      </pc:sldChg>
      <pc:sldChg chg="modSp add mod ord">
        <pc:chgData name="STEPANCHENKO, D. (Dmitrii)" userId="30c9d29d-ac41-46ff-b2be-c3f5dd1e26e1" providerId="ADAL" clId="{0D4D30D3-52F8-490C-8E8C-24DC58349B06}" dt="2022-12-31T10:21:34.474" v="7988" actId="20577"/>
        <pc:sldMkLst>
          <pc:docMk/>
          <pc:sldMk cId="3444687285" sldId="2134806333"/>
        </pc:sldMkLst>
        <pc:spChg chg="mod">
          <ac:chgData name="STEPANCHENKO, D. (Dmitrii)" userId="30c9d29d-ac41-46ff-b2be-c3f5dd1e26e1" providerId="ADAL" clId="{0D4D30D3-52F8-490C-8E8C-24DC58349B06}" dt="2022-12-31T10:21:34.474" v="7988" actId="20577"/>
          <ac:spMkLst>
            <pc:docMk/>
            <pc:sldMk cId="3444687285" sldId="2134806333"/>
            <ac:spMk id="5" creationId="{81BD1123-3626-1C45-BF5B-1C1864FA8AFA}"/>
          </ac:spMkLst>
        </pc:spChg>
      </pc:sldChg>
      <pc:sldChg chg="addSp delSp modSp add mod ord">
        <pc:chgData name="STEPANCHENKO, D. (Dmitrii)" userId="30c9d29d-ac41-46ff-b2be-c3f5dd1e26e1" providerId="ADAL" clId="{0D4D30D3-52F8-490C-8E8C-24DC58349B06}" dt="2022-12-23T13:57:13.347" v="7138" actId="20577"/>
        <pc:sldMkLst>
          <pc:docMk/>
          <pc:sldMk cId="3608721573" sldId="2134806334"/>
        </pc:sldMkLst>
        <pc:spChg chg="add del mod">
          <ac:chgData name="STEPANCHENKO, D. (Dmitrii)" userId="30c9d29d-ac41-46ff-b2be-c3f5dd1e26e1" providerId="ADAL" clId="{0D4D30D3-52F8-490C-8E8C-24DC58349B06}" dt="2022-12-23T12:56:07.649" v="4657" actId="478"/>
          <ac:spMkLst>
            <pc:docMk/>
            <pc:sldMk cId="3608721573" sldId="2134806334"/>
            <ac:spMk id="3" creationId="{C6A9DD77-3FE6-4E75-8D99-E97A9B82E591}"/>
          </ac:spMkLst>
        </pc:spChg>
        <pc:spChg chg="mod">
          <ac:chgData name="STEPANCHENKO, D. (Dmitrii)" userId="30c9d29d-ac41-46ff-b2be-c3f5dd1e26e1" providerId="ADAL" clId="{0D4D30D3-52F8-490C-8E8C-24DC58349B06}" dt="2022-12-23T12:55:45.518" v="4645" actId="20577"/>
          <ac:spMkLst>
            <pc:docMk/>
            <pc:sldMk cId="3608721573" sldId="2134806334"/>
            <ac:spMk id="5" creationId="{81BD1123-3626-1C45-BF5B-1C1864FA8AFA}"/>
          </ac:spMkLst>
        </pc:spChg>
        <pc:spChg chg="del">
          <ac:chgData name="STEPANCHENKO, D. (Dmitrii)" userId="30c9d29d-ac41-46ff-b2be-c3f5dd1e26e1" providerId="ADAL" clId="{0D4D30D3-52F8-490C-8E8C-24DC58349B06}" dt="2022-12-23T12:55:26.120" v="4619" actId="478"/>
          <ac:spMkLst>
            <pc:docMk/>
            <pc:sldMk cId="3608721573" sldId="2134806334"/>
            <ac:spMk id="8" creationId="{5DECFFF7-4DDD-4DFE-AF09-04E3986FCD1F}"/>
          </ac:spMkLst>
        </pc:spChg>
        <pc:spChg chg="del">
          <ac:chgData name="STEPANCHENKO, D. (Dmitrii)" userId="30c9d29d-ac41-46ff-b2be-c3f5dd1e26e1" providerId="ADAL" clId="{0D4D30D3-52F8-490C-8E8C-24DC58349B06}" dt="2022-12-23T12:55:28.808" v="4620" actId="478"/>
          <ac:spMkLst>
            <pc:docMk/>
            <pc:sldMk cId="3608721573" sldId="2134806334"/>
            <ac:spMk id="10" creationId="{52B6EE28-6B94-4077-8B54-07A0416DBEFA}"/>
          </ac:spMkLst>
        </pc:spChg>
        <pc:spChg chg="add mod">
          <ac:chgData name="STEPANCHENKO, D. (Dmitrii)" userId="30c9d29d-ac41-46ff-b2be-c3f5dd1e26e1" providerId="ADAL" clId="{0D4D30D3-52F8-490C-8E8C-24DC58349B06}" dt="2022-12-23T13:43:53.606" v="6430" actId="20577"/>
          <ac:spMkLst>
            <pc:docMk/>
            <pc:sldMk cId="3608721573" sldId="2134806334"/>
            <ac:spMk id="12" creationId="{0752E6A3-4425-48A0-9570-33BE5F54B45C}"/>
          </ac:spMkLst>
        </pc:spChg>
        <pc:spChg chg="add mod">
          <ac:chgData name="STEPANCHENKO, D. (Dmitrii)" userId="30c9d29d-ac41-46ff-b2be-c3f5dd1e26e1" providerId="ADAL" clId="{0D4D30D3-52F8-490C-8E8C-24DC58349B06}" dt="2022-12-23T13:56:58.610" v="7135" actId="20577"/>
          <ac:spMkLst>
            <pc:docMk/>
            <pc:sldMk cId="3608721573" sldId="2134806334"/>
            <ac:spMk id="13" creationId="{9AD3A892-2754-4EB3-A4DA-CB0772BFAF88}"/>
          </ac:spMkLst>
        </pc:spChg>
        <pc:spChg chg="add mod">
          <ac:chgData name="STEPANCHENKO, D. (Dmitrii)" userId="30c9d29d-ac41-46ff-b2be-c3f5dd1e26e1" providerId="ADAL" clId="{0D4D30D3-52F8-490C-8E8C-24DC58349B06}" dt="2022-12-23T13:57:13.347" v="7138" actId="20577"/>
          <ac:spMkLst>
            <pc:docMk/>
            <pc:sldMk cId="3608721573" sldId="2134806334"/>
            <ac:spMk id="14" creationId="{8774A0F6-E177-49B2-90C1-41ECDC52A906}"/>
          </ac:spMkLst>
        </pc:spChg>
        <pc:graphicFrameChg chg="add del mod modGraphic">
          <ac:chgData name="STEPANCHENKO, D. (Dmitrii)" userId="30c9d29d-ac41-46ff-b2be-c3f5dd1e26e1" providerId="ADAL" clId="{0D4D30D3-52F8-490C-8E8C-24DC58349B06}" dt="2022-12-23T13:01:22.516" v="4662" actId="478"/>
          <ac:graphicFrameMkLst>
            <pc:docMk/>
            <pc:sldMk cId="3608721573" sldId="2134806334"/>
            <ac:graphicFrameMk id="4" creationId="{CE415FA7-BB8E-46E7-9DE7-924FF3DF3C2B}"/>
          </ac:graphicFrameMkLst>
        </pc:graphicFrameChg>
        <pc:graphicFrameChg chg="add mod modGraphic">
          <ac:chgData name="STEPANCHENKO, D. (Dmitrii)" userId="30c9d29d-ac41-46ff-b2be-c3f5dd1e26e1" providerId="ADAL" clId="{0D4D30D3-52F8-490C-8E8C-24DC58349B06}" dt="2022-12-23T13:19:04.427" v="5443" actId="20577"/>
          <ac:graphicFrameMkLst>
            <pc:docMk/>
            <pc:sldMk cId="3608721573" sldId="2134806334"/>
            <ac:graphicFrameMk id="6" creationId="{13ED6E41-6289-460B-BAE9-304E921B4555}"/>
          </ac:graphicFrameMkLst>
        </pc:graphicFrameChg>
        <pc:cxnChg chg="add mod">
          <ac:chgData name="STEPANCHENKO, D. (Dmitrii)" userId="30c9d29d-ac41-46ff-b2be-c3f5dd1e26e1" providerId="ADAL" clId="{0D4D30D3-52F8-490C-8E8C-24DC58349B06}" dt="2022-12-23T13:12:22.258" v="4877" actId="1036"/>
          <ac:cxnSpMkLst>
            <pc:docMk/>
            <pc:sldMk cId="3608721573" sldId="2134806334"/>
            <ac:cxnSpMk id="9" creationId="{B0A39E29-580B-410B-94A4-8966AC40A585}"/>
          </ac:cxnSpMkLst>
        </pc:cxnChg>
        <pc:cxnChg chg="add mod">
          <ac:chgData name="STEPANCHENKO, D. (Dmitrii)" userId="30c9d29d-ac41-46ff-b2be-c3f5dd1e26e1" providerId="ADAL" clId="{0D4D30D3-52F8-490C-8E8C-24DC58349B06}" dt="2022-12-23T13:12:17.808" v="4860" actId="1036"/>
          <ac:cxnSpMkLst>
            <pc:docMk/>
            <pc:sldMk cId="3608721573" sldId="2134806334"/>
            <ac:cxnSpMk id="11" creationId="{E502FB7F-08B3-473F-9827-C88F050F5A53}"/>
          </ac:cxnSpMkLst>
        </pc:cxnChg>
      </pc:sldChg>
      <pc:sldChg chg="addSp delSp modSp add mod">
        <pc:chgData name="STEPANCHENKO, D. (Dmitrii)" userId="30c9d29d-ac41-46ff-b2be-c3f5dd1e26e1" providerId="ADAL" clId="{0D4D30D3-52F8-490C-8E8C-24DC58349B06}" dt="2022-12-23T14:30:34.667" v="7162" actId="14100"/>
        <pc:sldMkLst>
          <pc:docMk/>
          <pc:sldMk cId="3429197109" sldId="2134806335"/>
        </pc:sldMkLst>
        <pc:spChg chg="mod">
          <ac:chgData name="STEPANCHENKO, D. (Dmitrii)" userId="30c9d29d-ac41-46ff-b2be-c3f5dd1e26e1" providerId="ADAL" clId="{0D4D30D3-52F8-490C-8E8C-24DC58349B06}" dt="2022-12-23T13:41:37.668" v="6398" actId="20577"/>
          <ac:spMkLst>
            <pc:docMk/>
            <pc:sldMk cId="3429197109" sldId="2134806335"/>
            <ac:spMk id="5" creationId="{81BD1123-3626-1C45-BF5B-1C1864FA8AFA}"/>
          </ac:spMkLst>
        </pc:spChg>
        <pc:spChg chg="del">
          <ac:chgData name="STEPANCHENKO, D. (Dmitrii)" userId="30c9d29d-ac41-46ff-b2be-c3f5dd1e26e1" providerId="ADAL" clId="{0D4D30D3-52F8-490C-8E8C-24DC58349B06}" dt="2022-12-23T13:41:39.424" v="6399" actId="478"/>
          <ac:spMkLst>
            <pc:docMk/>
            <pc:sldMk cId="3429197109" sldId="2134806335"/>
            <ac:spMk id="8" creationId="{5DECFFF7-4DDD-4DFE-AF09-04E3986FCD1F}"/>
          </ac:spMkLst>
        </pc:spChg>
        <pc:spChg chg="del">
          <ac:chgData name="STEPANCHENKO, D. (Dmitrii)" userId="30c9d29d-ac41-46ff-b2be-c3f5dd1e26e1" providerId="ADAL" clId="{0D4D30D3-52F8-490C-8E8C-24DC58349B06}" dt="2022-12-23T13:41:45.208" v="6400" actId="478"/>
          <ac:spMkLst>
            <pc:docMk/>
            <pc:sldMk cId="3429197109" sldId="2134806335"/>
            <ac:spMk id="10" creationId="{52B6EE28-6B94-4077-8B54-07A0416DBEFA}"/>
          </ac:spMkLst>
        </pc:spChg>
        <pc:graphicFrameChg chg="add mod modGraphic">
          <ac:chgData name="STEPANCHENKO, D. (Dmitrii)" userId="30c9d29d-ac41-46ff-b2be-c3f5dd1e26e1" providerId="ADAL" clId="{0D4D30D3-52F8-490C-8E8C-24DC58349B06}" dt="2022-12-23T14:30:34.667" v="7162" actId="14100"/>
          <ac:graphicFrameMkLst>
            <pc:docMk/>
            <pc:sldMk cId="3429197109" sldId="2134806335"/>
            <ac:graphicFrameMk id="3" creationId="{3FB1392B-9DAC-40D6-AF12-16AF88B26518}"/>
          </ac:graphicFrameMkLst>
        </pc:graphicFrameChg>
      </pc:sldChg>
      <pc:sldChg chg="addSp delSp modSp add mod ord">
        <pc:chgData name="STEPANCHENKO, D. (Dmitrii)" userId="30c9d29d-ac41-46ff-b2be-c3f5dd1e26e1" providerId="ADAL" clId="{0D4D30D3-52F8-490C-8E8C-24DC58349B06}" dt="2022-12-31T10:26:11.500" v="8061" actId="20577"/>
        <pc:sldMkLst>
          <pc:docMk/>
          <pc:sldMk cId="1608794076" sldId="2134806336"/>
        </pc:sldMkLst>
        <pc:spChg chg="mod">
          <ac:chgData name="STEPANCHENKO, D. (Dmitrii)" userId="30c9d29d-ac41-46ff-b2be-c3f5dd1e26e1" providerId="ADAL" clId="{0D4D30D3-52F8-490C-8E8C-24DC58349B06}" dt="2022-12-23T13:58:34.029" v="7149"/>
          <ac:spMkLst>
            <pc:docMk/>
            <pc:sldMk cId="1608794076" sldId="2134806336"/>
            <ac:spMk id="5" creationId="{81BD1123-3626-1C45-BF5B-1C1864FA8AFA}"/>
          </ac:spMkLst>
        </pc:spChg>
        <pc:spChg chg="add mod">
          <ac:chgData name="STEPANCHENKO, D. (Dmitrii)" userId="30c9d29d-ac41-46ff-b2be-c3f5dd1e26e1" providerId="ADAL" clId="{0D4D30D3-52F8-490C-8E8C-24DC58349B06}" dt="2022-12-31T10:26:11.500" v="8061" actId="20577"/>
          <ac:spMkLst>
            <pc:docMk/>
            <pc:sldMk cId="1608794076" sldId="2134806336"/>
            <ac:spMk id="7" creationId="{123EC169-7644-486C-8036-F709D2DAEAF0}"/>
          </ac:spMkLst>
        </pc:spChg>
        <pc:spChg chg="del">
          <ac:chgData name="STEPANCHENKO, D. (Dmitrii)" userId="30c9d29d-ac41-46ff-b2be-c3f5dd1e26e1" providerId="ADAL" clId="{0D4D30D3-52F8-490C-8E8C-24DC58349B06}" dt="2022-12-23T13:59:32.477" v="7159" actId="478"/>
          <ac:spMkLst>
            <pc:docMk/>
            <pc:sldMk cId="1608794076" sldId="2134806336"/>
            <ac:spMk id="8" creationId="{5DECFFF7-4DDD-4DFE-AF09-04E3986FCD1F}"/>
          </ac:spMkLst>
        </pc:spChg>
        <pc:graphicFrameChg chg="add mod modGraphic">
          <ac:chgData name="STEPANCHENKO, D. (Dmitrii)" userId="30c9d29d-ac41-46ff-b2be-c3f5dd1e26e1" providerId="ADAL" clId="{0D4D30D3-52F8-490C-8E8C-24DC58349B06}" dt="2022-12-31T10:25:45.206" v="8058" actId="2161"/>
          <ac:graphicFrameMkLst>
            <pc:docMk/>
            <pc:sldMk cId="1608794076" sldId="2134806336"/>
            <ac:graphicFrameMk id="3" creationId="{14F17274-164C-418B-B125-D92ACA77A98E}"/>
          </ac:graphicFrameMkLst>
        </pc:graphicFrameChg>
      </pc:sldChg>
      <pc:sldChg chg="modSp add mod">
        <pc:chgData name="STEPANCHENKO, D. (Dmitrii)" userId="30c9d29d-ac41-46ff-b2be-c3f5dd1e26e1" providerId="ADAL" clId="{0D4D30D3-52F8-490C-8E8C-24DC58349B06}" dt="2022-12-27T17:20:26.566" v="7168" actId="20577"/>
        <pc:sldMkLst>
          <pc:docMk/>
          <pc:sldMk cId="3231236423" sldId="2134806337"/>
        </pc:sldMkLst>
        <pc:spChg chg="mod">
          <ac:chgData name="STEPANCHENKO, D. (Dmitrii)" userId="30c9d29d-ac41-46ff-b2be-c3f5dd1e26e1" providerId="ADAL" clId="{0D4D30D3-52F8-490C-8E8C-24DC58349B06}" dt="2022-12-27T17:20:26.566" v="7168" actId="20577"/>
          <ac:spMkLst>
            <pc:docMk/>
            <pc:sldMk cId="3231236423" sldId="2134806337"/>
            <ac:spMk id="5" creationId="{81BD1123-3626-1C45-BF5B-1C1864FA8AFA}"/>
          </ac:spMkLst>
        </pc:spChg>
      </pc:sldChg>
      <pc:sldChg chg="addSp delSp modSp add mod">
        <pc:chgData name="STEPANCHENKO, D. (Dmitrii)" userId="30c9d29d-ac41-46ff-b2be-c3f5dd1e26e1" providerId="ADAL" clId="{0D4D30D3-52F8-490C-8E8C-24DC58349B06}" dt="2022-12-23T10:47:48.199" v="4126" actId="1038"/>
        <pc:sldMkLst>
          <pc:docMk/>
          <pc:sldMk cId="1628329711" sldId="2134806338"/>
        </pc:sldMkLst>
        <pc:spChg chg="mod">
          <ac:chgData name="STEPANCHENKO, D. (Dmitrii)" userId="30c9d29d-ac41-46ff-b2be-c3f5dd1e26e1" providerId="ADAL" clId="{0D4D30D3-52F8-490C-8E8C-24DC58349B06}" dt="2022-12-23T10:47:48.199" v="4126" actId="1038"/>
          <ac:spMkLst>
            <pc:docMk/>
            <pc:sldMk cId="1628329711" sldId="2134806338"/>
            <ac:spMk id="11" creationId="{BB09950D-C344-43B8-8019-0E0EE3D809D4}"/>
          </ac:spMkLst>
        </pc:spChg>
        <pc:picChg chg="add mod">
          <ac:chgData name="STEPANCHENKO, D. (Dmitrii)" userId="30c9d29d-ac41-46ff-b2be-c3f5dd1e26e1" providerId="ADAL" clId="{0D4D30D3-52F8-490C-8E8C-24DC58349B06}" dt="2022-12-23T10:47:33.411" v="4100" actId="1076"/>
          <ac:picMkLst>
            <pc:docMk/>
            <pc:sldMk cId="1628329711" sldId="2134806338"/>
            <ac:picMk id="4" creationId="{C2F50882-97E8-4B30-A6E4-10FBB13CD314}"/>
          </ac:picMkLst>
        </pc:picChg>
        <pc:picChg chg="del">
          <ac:chgData name="STEPANCHENKO, D. (Dmitrii)" userId="30c9d29d-ac41-46ff-b2be-c3f5dd1e26e1" providerId="ADAL" clId="{0D4D30D3-52F8-490C-8E8C-24DC58349B06}" dt="2022-12-23T10:46:34.345" v="4098" actId="478"/>
          <ac:picMkLst>
            <pc:docMk/>
            <pc:sldMk cId="1628329711" sldId="2134806338"/>
            <ac:picMk id="7" creationId="{20299033-72A7-4916-923F-7D116B1D796D}"/>
          </ac:picMkLst>
        </pc:picChg>
      </pc:sldChg>
      <pc:sldChg chg="addSp delSp modSp add mod ord">
        <pc:chgData name="STEPANCHENKO, D. (Dmitrii)" userId="30c9d29d-ac41-46ff-b2be-c3f5dd1e26e1" providerId="ADAL" clId="{0D4D30D3-52F8-490C-8E8C-24DC58349B06}" dt="2022-12-23T11:04:17.061" v="4186"/>
        <pc:sldMkLst>
          <pc:docMk/>
          <pc:sldMk cId="1551122493" sldId="2134806339"/>
        </pc:sldMkLst>
        <pc:picChg chg="del">
          <ac:chgData name="STEPANCHENKO, D. (Dmitrii)" userId="30c9d29d-ac41-46ff-b2be-c3f5dd1e26e1" providerId="ADAL" clId="{0D4D30D3-52F8-490C-8E8C-24DC58349B06}" dt="2022-12-23T11:01:40.700" v="4131" actId="478"/>
          <ac:picMkLst>
            <pc:docMk/>
            <pc:sldMk cId="1551122493" sldId="2134806339"/>
            <ac:picMk id="4" creationId="{C2F50882-97E8-4B30-A6E4-10FBB13CD314}"/>
          </ac:picMkLst>
        </pc:picChg>
        <pc:picChg chg="add mod">
          <ac:chgData name="STEPANCHENKO, D. (Dmitrii)" userId="30c9d29d-ac41-46ff-b2be-c3f5dd1e26e1" providerId="ADAL" clId="{0D4D30D3-52F8-490C-8E8C-24DC58349B06}" dt="2022-12-23T11:02:58.065" v="4170" actId="14100"/>
          <ac:picMkLst>
            <pc:docMk/>
            <pc:sldMk cId="1551122493" sldId="2134806339"/>
            <ac:picMk id="5" creationId="{1F0E5A33-280B-4600-A09F-47F03165EB83}"/>
          </ac:picMkLst>
        </pc:picChg>
      </pc:sldChg>
      <pc:sldChg chg="addSp delSp modSp add del mod ord">
        <pc:chgData name="STEPANCHENKO, D. (Dmitrii)" userId="30c9d29d-ac41-46ff-b2be-c3f5dd1e26e1" providerId="ADAL" clId="{0D4D30D3-52F8-490C-8E8C-24DC58349B06}" dt="2022-12-23T11:10:57.238" v="4268" actId="47"/>
        <pc:sldMkLst>
          <pc:docMk/>
          <pc:sldMk cId="3161876117" sldId="2134806340"/>
        </pc:sldMkLst>
        <pc:picChg chg="del">
          <ac:chgData name="STEPANCHENKO, D. (Dmitrii)" userId="30c9d29d-ac41-46ff-b2be-c3f5dd1e26e1" providerId="ADAL" clId="{0D4D30D3-52F8-490C-8E8C-24DC58349B06}" dt="2022-12-23T11:01:42.737" v="4132" actId="478"/>
          <ac:picMkLst>
            <pc:docMk/>
            <pc:sldMk cId="3161876117" sldId="2134806340"/>
            <ac:picMk id="4" creationId="{C2F50882-97E8-4B30-A6E4-10FBB13CD314}"/>
          </ac:picMkLst>
        </pc:picChg>
        <pc:picChg chg="add mod">
          <ac:chgData name="STEPANCHENKO, D. (Dmitrii)" userId="30c9d29d-ac41-46ff-b2be-c3f5dd1e26e1" providerId="ADAL" clId="{0D4D30D3-52F8-490C-8E8C-24DC58349B06}" dt="2022-12-23T11:02:21.935" v="4167" actId="1036"/>
          <ac:picMkLst>
            <pc:docMk/>
            <pc:sldMk cId="3161876117" sldId="2134806340"/>
            <ac:picMk id="5" creationId="{1D09C45E-8407-4091-8884-A2626C8EFDE4}"/>
          </ac:picMkLst>
        </pc:picChg>
      </pc:sldChg>
      <pc:sldChg chg="add del">
        <pc:chgData name="STEPANCHENKO, D. (Dmitrii)" userId="30c9d29d-ac41-46ff-b2be-c3f5dd1e26e1" providerId="ADAL" clId="{0D4D30D3-52F8-490C-8E8C-24DC58349B06}" dt="2022-12-23T11:01:50.635" v="4134"/>
        <pc:sldMkLst>
          <pc:docMk/>
          <pc:sldMk cId="2237007134" sldId="2134806341"/>
        </pc:sldMkLst>
      </pc:sldChg>
      <pc:sldChg chg="addSp delSp modSp add mod">
        <pc:chgData name="STEPANCHENKO, D. (Dmitrii)" userId="30c9d29d-ac41-46ff-b2be-c3f5dd1e26e1" providerId="ADAL" clId="{0D4D30D3-52F8-490C-8E8C-24DC58349B06}" dt="2022-12-23T11:05:52.859" v="4215" actId="1036"/>
        <pc:sldMkLst>
          <pc:docMk/>
          <pc:sldMk cId="4055161192" sldId="2134806341"/>
        </pc:sldMkLst>
        <pc:picChg chg="del">
          <ac:chgData name="STEPANCHENKO, D. (Dmitrii)" userId="30c9d29d-ac41-46ff-b2be-c3f5dd1e26e1" providerId="ADAL" clId="{0D4D30D3-52F8-490C-8E8C-24DC58349B06}" dt="2022-12-23T11:03:42.939" v="4174" actId="478"/>
          <ac:picMkLst>
            <pc:docMk/>
            <pc:sldMk cId="4055161192" sldId="2134806341"/>
            <ac:picMk id="4" creationId="{C2F50882-97E8-4B30-A6E4-10FBB13CD314}"/>
          </ac:picMkLst>
        </pc:picChg>
        <pc:picChg chg="add mod">
          <ac:chgData name="STEPANCHENKO, D. (Dmitrii)" userId="30c9d29d-ac41-46ff-b2be-c3f5dd1e26e1" providerId="ADAL" clId="{0D4D30D3-52F8-490C-8E8C-24DC58349B06}" dt="2022-12-23T11:05:52.859" v="4215" actId="1036"/>
          <ac:picMkLst>
            <pc:docMk/>
            <pc:sldMk cId="4055161192" sldId="2134806341"/>
            <ac:picMk id="5" creationId="{8786B4DB-54D0-49D4-A975-EC0ECEA390B3}"/>
          </ac:picMkLst>
        </pc:picChg>
      </pc:sldChg>
      <pc:sldChg chg="addSp modSp add mod ord">
        <pc:chgData name="STEPANCHENKO, D. (Dmitrii)" userId="30c9d29d-ac41-46ff-b2be-c3f5dd1e26e1" providerId="ADAL" clId="{0D4D30D3-52F8-490C-8E8C-24DC58349B06}" dt="2022-12-23T11:06:50.457" v="4241" actId="20577"/>
        <pc:sldMkLst>
          <pc:docMk/>
          <pc:sldMk cId="2501858576" sldId="2134806342"/>
        </pc:sldMkLst>
        <pc:spChg chg="add mod">
          <ac:chgData name="STEPANCHENKO, D. (Dmitrii)" userId="30c9d29d-ac41-46ff-b2be-c3f5dd1e26e1" providerId="ADAL" clId="{0D4D30D3-52F8-490C-8E8C-24DC58349B06}" dt="2022-12-23T11:06:50.457" v="4241" actId="20577"/>
          <ac:spMkLst>
            <pc:docMk/>
            <pc:sldMk cId="2501858576" sldId="2134806342"/>
            <ac:spMk id="8" creationId="{9E99B46D-E916-43A6-BC68-8132CE54B575}"/>
          </ac:spMkLst>
        </pc:spChg>
        <pc:spChg chg="mod">
          <ac:chgData name="STEPANCHENKO, D. (Dmitrii)" userId="30c9d29d-ac41-46ff-b2be-c3f5dd1e26e1" providerId="ADAL" clId="{0D4D30D3-52F8-490C-8E8C-24DC58349B06}" dt="2022-12-23T11:06:36.735" v="4220" actId="14100"/>
          <ac:spMkLst>
            <pc:docMk/>
            <pc:sldMk cId="2501858576" sldId="2134806342"/>
            <ac:spMk id="11" creationId="{BB09950D-C344-43B8-8019-0E0EE3D809D4}"/>
          </ac:spMkLst>
        </pc:spChg>
        <pc:picChg chg="add mod">
          <ac:chgData name="STEPANCHENKO, D. (Dmitrii)" userId="30c9d29d-ac41-46ff-b2be-c3f5dd1e26e1" providerId="ADAL" clId="{0D4D30D3-52F8-490C-8E8C-24DC58349B06}" dt="2022-12-23T11:06:18.696" v="4217" actId="1076"/>
          <ac:picMkLst>
            <pc:docMk/>
            <pc:sldMk cId="2501858576" sldId="2134806342"/>
            <ac:picMk id="4" creationId="{01143419-EC07-4A19-A081-09A719F214FC}"/>
          </ac:picMkLst>
        </pc:picChg>
        <pc:picChg chg="add mod">
          <ac:chgData name="STEPANCHENKO, D. (Dmitrii)" userId="30c9d29d-ac41-46ff-b2be-c3f5dd1e26e1" providerId="ADAL" clId="{0D4D30D3-52F8-490C-8E8C-24DC58349B06}" dt="2022-12-23T11:06:34.342" v="4219" actId="1076"/>
          <ac:picMkLst>
            <pc:docMk/>
            <pc:sldMk cId="2501858576" sldId="2134806342"/>
            <ac:picMk id="6" creationId="{C58F600E-E0CD-44B0-A740-4CAACCDD11E6}"/>
          </ac:picMkLst>
        </pc:picChg>
      </pc:sldChg>
      <pc:sldChg chg="add del">
        <pc:chgData name="STEPANCHENKO, D. (Dmitrii)" userId="30c9d29d-ac41-46ff-b2be-c3f5dd1e26e1" providerId="ADAL" clId="{0D4D30D3-52F8-490C-8E8C-24DC58349B06}" dt="2022-12-23T11:03:43.928" v="4176"/>
        <pc:sldMkLst>
          <pc:docMk/>
          <pc:sldMk cId="4275971901" sldId="2134806342"/>
        </pc:sldMkLst>
      </pc:sldChg>
      <pc:sldChg chg="addSp delSp modSp add mod ord">
        <pc:chgData name="STEPANCHENKO, D. (Dmitrii)" userId="30c9d29d-ac41-46ff-b2be-c3f5dd1e26e1" providerId="ADAL" clId="{0D4D30D3-52F8-490C-8E8C-24DC58349B06}" dt="2022-12-23T11:05:48.455" v="4210" actId="1036"/>
        <pc:sldMkLst>
          <pc:docMk/>
          <pc:sldMk cId="1681204507" sldId="2134806343"/>
        </pc:sldMkLst>
        <pc:spChg chg="mod">
          <ac:chgData name="STEPANCHENKO, D. (Dmitrii)" userId="30c9d29d-ac41-46ff-b2be-c3f5dd1e26e1" providerId="ADAL" clId="{0D4D30D3-52F8-490C-8E8C-24DC58349B06}" dt="2022-12-23T11:04:10.552" v="4182" actId="1076"/>
          <ac:spMkLst>
            <pc:docMk/>
            <pc:sldMk cId="1681204507" sldId="2134806343"/>
            <ac:spMk id="11" creationId="{BB09950D-C344-43B8-8019-0E0EE3D809D4}"/>
          </ac:spMkLst>
        </pc:spChg>
        <pc:picChg chg="add mod">
          <ac:chgData name="STEPANCHENKO, D. (Dmitrii)" userId="30c9d29d-ac41-46ff-b2be-c3f5dd1e26e1" providerId="ADAL" clId="{0D4D30D3-52F8-490C-8E8C-24DC58349B06}" dt="2022-12-23T11:05:48.455" v="4210" actId="1036"/>
          <ac:picMkLst>
            <pc:docMk/>
            <pc:sldMk cId="1681204507" sldId="2134806343"/>
            <ac:picMk id="4" creationId="{D63EE18E-3834-42F2-BD40-08BA16AA6383}"/>
          </ac:picMkLst>
        </pc:picChg>
        <pc:picChg chg="add del mod">
          <ac:chgData name="STEPANCHENKO, D. (Dmitrii)" userId="30c9d29d-ac41-46ff-b2be-c3f5dd1e26e1" providerId="ADAL" clId="{0D4D30D3-52F8-490C-8E8C-24DC58349B06}" dt="2022-12-23T11:05:05.099" v="4197" actId="21"/>
          <ac:picMkLst>
            <pc:docMk/>
            <pc:sldMk cId="1681204507" sldId="2134806343"/>
            <ac:picMk id="6" creationId="{F1EB221D-CA7A-49A1-B4CB-00AB653CEE64}"/>
          </ac:picMkLst>
        </pc:picChg>
      </pc:sldChg>
      <pc:sldChg chg="addSp modSp add mod">
        <pc:chgData name="STEPANCHENKO, D. (Dmitrii)" userId="30c9d29d-ac41-46ff-b2be-c3f5dd1e26e1" providerId="ADAL" clId="{0D4D30D3-52F8-490C-8E8C-24DC58349B06}" dt="2022-12-23T11:07:44.954" v="4244" actId="14100"/>
        <pc:sldMkLst>
          <pc:docMk/>
          <pc:sldMk cId="3094043980" sldId="2134806344"/>
        </pc:sldMkLst>
        <pc:picChg chg="add mod">
          <ac:chgData name="STEPANCHENKO, D. (Dmitrii)" userId="30c9d29d-ac41-46ff-b2be-c3f5dd1e26e1" providerId="ADAL" clId="{0D4D30D3-52F8-490C-8E8C-24DC58349B06}" dt="2022-12-23T11:07:44.954" v="4244" actId="14100"/>
          <ac:picMkLst>
            <pc:docMk/>
            <pc:sldMk cId="3094043980" sldId="2134806344"/>
            <ac:picMk id="4" creationId="{75934AAE-4E2F-404E-8D00-83E1D3A6AE93}"/>
          </ac:picMkLst>
        </pc:picChg>
      </pc:sldChg>
      <pc:sldChg chg="addSp modSp add mod">
        <pc:chgData name="STEPANCHENKO, D. (Dmitrii)" userId="30c9d29d-ac41-46ff-b2be-c3f5dd1e26e1" providerId="ADAL" clId="{0D4D30D3-52F8-490C-8E8C-24DC58349B06}" dt="2022-12-23T11:09:26.369" v="4261" actId="1036"/>
        <pc:sldMkLst>
          <pc:docMk/>
          <pc:sldMk cId="319979765" sldId="2134806345"/>
        </pc:sldMkLst>
        <pc:picChg chg="add mod">
          <ac:chgData name="STEPANCHENKO, D. (Dmitrii)" userId="30c9d29d-ac41-46ff-b2be-c3f5dd1e26e1" providerId="ADAL" clId="{0D4D30D3-52F8-490C-8E8C-24DC58349B06}" dt="2022-12-23T11:09:26.369" v="4261" actId="1036"/>
          <ac:picMkLst>
            <pc:docMk/>
            <pc:sldMk cId="319979765" sldId="2134806345"/>
            <ac:picMk id="4" creationId="{4C8BE61A-2F3A-4FEA-9317-70FF39B404E7}"/>
          </ac:picMkLst>
        </pc:picChg>
      </pc:sldChg>
      <pc:sldChg chg="addSp modSp add mod">
        <pc:chgData name="STEPANCHENKO, D. (Dmitrii)" userId="30c9d29d-ac41-46ff-b2be-c3f5dd1e26e1" providerId="ADAL" clId="{0D4D30D3-52F8-490C-8E8C-24DC58349B06}" dt="2022-12-23T11:10:49.972" v="4265" actId="1036"/>
        <pc:sldMkLst>
          <pc:docMk/>
          <pc:sldMk cId="1623928624" sldId="2134806346"/>
        </pc:sldMkLst>
        <pc:picChg chg="add mod">
          <ac:chgData name="STEPANCHENKO, D. (Dmitrii)" userId="30c9d29d-ac41-46ff-b2be-c3f5dd1e26e1" providerId="ADAL" clId="{0D4D30D3-52F8-490C-8E8C-24DC58349B06}" dt="2022-12-23T11:10:49.972" v="4265" actId="1036"/>
          <ac:picMkLst>
            <pc:docMk/>
            <pc:sldMk cId="1623928624" sldId="2134806346"/>
            <ac:picMk id="4" creationId="{3111B2C3-E963-479B-9B06-0EC84EC99BA3}"/>
          </ac:picMkLst>
        </pc:picChg>
      </pc:sldChg>
      <pc:sldChg chg="addSp delSp modSp add mod ord">
        <pc:chgData name="STEPANCHENKO, D. (Dmitrii)" userId="30c9d29d-ac41-46ff-b2be-c3f5dd1e26e1" providerId="ADAL" clId="{0D4D30D3-52F8-490C-8E8C-24DC58349B06}" dt="2022-12-23T11:15:07.165" v="4278" actId="14100"/>
        <pc:sldMkLst>
          <pc:docMk/>
          <pc:sldMk cId="3986974841" sldId="2134806347"/>
        </pc:sldMkLst>
        <pc:picChg chg="del">
          <ac:chgData name="STEPANCHENKO, D. (Dmitrii)" userId="30c9d29d-ac41-46ff-b2be-c3f5dd1e26e1" providerId="ADAL" clId="{0D4D30D3-52F8-490C-8E8C-24DC58349B06}" dt="2022-12-23T11:11:06.064" v="4272" actId="478"/>
          <ac:picMkLst>
            <pc:docMk/>
            <pc:sldMk cId="3986974841" sldId="2134806347"/>
            <ac:picMk id="4" creationId="{75934AAE-4E2F-404E-8D00-83E1D3A6AE93}"/>
          </ac:picMkLst>
        </pc:picChg>
        <pc:picChg chg="add mod">
          <ac:chgData name="STEPANCHENKO, D. (Dmitrii)" userId="30c9d29d-ac41-46ff-b2be-c3f5dd1e26e1" providerId="ADAL" clId="{0D4D30D3-52F8-490C-8E8C-24DC58349B06}" dt="2022-12-23T11:15:07.165" v="4278" actId="14100"/>
          <ac:picMkLst>
            <pc:docMk/>
            <pc:sldMk cId="3986974841" sldId="2134806347"/>
            <ac:picMk id="5" creationId="{837C5759-45A0-43DC-8565-C74AF28123B6}"/>
          </ac:picMkLst>
        </pc:picChg>
      </pc:sldChg>
      <pc:sldChg chg="add del">
        <pc:chgData name="STEPANCHENKO, D. (Dmitrii)" userId="30c9d29d-ac41-46ff-b2be-c3f5dd1e26e1" providerId="ADAL" clId="{0D4D30D3-52F8-490C-8E8C-24DC58349B06}" dt="2022-12-23T11:23:23.834" v="4279" actId="47"/>
        <pc:sldMkLst>
          <pc:docMk/>
          <pc:sldMk cId="1721167703" sldId="2134806348"/>
        </pc:sldMkLst>
      </pc:sldChg>
      <pc:sldChg chg="addSp delSp modSp add mod">
        <pc:chgData name="STEPANCHENKO, D. (Dmitrii)" userId="30c9d29d-ac41-46ff-b2be-c3f5dd1e26e1" providerId="ADAL" clId="{0D4D30D3-52F8-490C-8E8C-24DC58349B06}" dt="2022-12-23T14:30:54.685" v="7164"/>
        <pc:sldMkLst>
          <pc:docMk/>
          <pc:sldMk cId="3121307498" sldId="2134806348"/>
        </pc:sldMkLst>
        <pc:spChg chg="mod">
          <ac:chgData name="STEPANCHENKO, D. (Dmitrii)" userId="30c9d29d-ac41-46ff-b2be-c3f5dd1e26e1" providerId="ADAL" clId="{0D4D30D3-52F8-490C-8E8C-24DC58349B06}" dt="2022-12-23T13:14:04.092" v="5017" actId="20577"/>
          <ac:spMkLst>
            <pc:docMk/>
            <pc:sldMk cId="3121307498" sldId="2134806348"/>
            <ac:spMk id="5" creationId="{81BD1123-3626-1C45-BF5B-1C1864FA8AFA}"/>
          </ac:spMkLst>
        </pc:spChg>
        <pc:spChg chg="add del mod">
          <ac:chgData name="STEPANCHENKO, D. (Dmitrii)" userId="30c9d29d-ac41-46ff-b2be-c3f5dd1e26e1" providerId="ADAL" clId="{0D4D30D3-52F8-490C-8E8C-24DC58349B06}" dt="2022-12-23T13:13:25.261" v="4958" actId="478"/>
          <ac:spMkLst>
            <pc:docMk/>
            <pc:sldMk cId="3121307498" sldId="2134806348"/>
            <ac:spMk id="10" creationId="{9C5A0EB6-2285-42A4-9102-5727E576FB60}"/>
          </ac:spMkLst>
        </pc:spChg>
        <pc:spChg chg="del">
          <ac:chgData name="STEPANCHENKO, D. (Dmitrii)" userId="30c9d29d-ac41-46ff-b2be-c3f5dd1e26e1" providerId="ADAL" clId="{0D4D30D3-52F8-490C-8E8C-24DC58349B06}" dt="2022-12-23T13:24:19.088" v="5644" actId="478"/>
          <ac:spMkLst>
            <pc:docMk/>
            <pc:sldMk cId="3121307498" sldId="2134806348"/>
            <ac:spMk id="12" creationId="{0752E6A3-4425-48A0-9570-33BE5F54B45C}"/>
          </ac:spMkLst>
        </pc:spChg>
        <pc:graphicFrameChg chg="del mod">
          <ac:chgData name="STEPANCHENKO, D. (Dmitrii)" userId="30c9d29d-ac41-46ff-b2be-c3f5dd1e26e1" providerId="ADAL" clId="{0D4D30D3-52F8-490C-8E8C-24DC58349B06}" dt="2022-12-23T13:13:20.438" v="4956" actId="478"/>
          <ac:graphicFrameMkLst>
            <pc:docMk/>
            <pc:sldMk cId="3121307498" sldId="2134806348"/>
            <ac:graphicFrameMk id="6" creationId="{13ED6E41-6289-460B-BAE9-304E921B4555}"/>
          </ac:graphicFrameMkLst>
        </pc:graphicFrameChg>
        <pc:graphicFrameChg chg="add mod modGraphic">
          <ac:chgData name="STEPANCHENKO, D. (Dmitrii)" userId="30c9d29d-ac41-46ff-b2be-c3f5dd1e26e1" providerId="ADAL" clId="{0D4D30D3-52F8-490C-8E8C-24DC58349B06}" dt="2022-12-23T14:30:54.685" v="7164"/>
          <ac:graphicFrameMkLst>
            <pc:docMk/>
            <pc:sldMk cId="3121307498" sldId="2134806348"/>
            <ac:graphicFrameMk id="7" creationId="{6FF43420-5F97-4112-B0D3-FE928926660A}"/>
          </ac:graphicFrameMkLst>
        </pc:graphicFrameChg>
        <pc:cxnChg chg="add del mod">
          <ac:chgData name="STEPANCHENKO, D. (Dmitrii)" userId="30c9d29d-ac41-46ff-b2be-c3f5dd1e26e1" providerId="ADAL" clId="{0D4D30D3-52F8-490C-8E8C-24DC58349B06}" dt="2022-12-23T13:13:25.261" v="4958" actId="478"/>
          <ac:cxnSpMkLst>
            <pc:docMk/>
            <pc:sldMk cId="3121307498" sldId="2134806348"/>
            <ac:cxnSpMk id="8" creationId="{FBB0DCA7-3FFF-4F92-88FA-366A28C7E215}"/>
          </ac:cxnSpMkLst>
        </pc:cxnChg>
        <pc:cxnChg chg="del">
          <ac:chgData name="STEPANCHENKO, D. (Dmitrii)" userId="30c9d29d-ac41-46ff-b2be-c3f5dd1e26e1" providerId="ADAL" clId="{0D4D30D3-52F8-490C-8E8C-24DC58349B06}" dt="2022-12-23T13:13:27.338" v="4959" actId="478"/>
          <ac:cxnSpMkLst>
            <pc:docMk/>
            <pc:sldMk cId="3121307498" sldId="2134806348"/>
            <ac:cxnSpMk id="9" creationId="{B0A39E29-580B-410B-94A4-8966AC40A585}"/>
          </ac:cxnSpMkLst>
        </pc:cxnChg>
        <pc:cxnChg chg="del">
          <ac:chgData name="STEPANCHENKO, D. (Dmitrii)" userId="30c9d29d-ac41-46ff-b2be-c3f5dd1e26e1" providerId="ADAL" clId="{0D4D30D3-52F8-490C-8E8C-24DC58349B06}" dt="2022-12-23T13:13:25.261" v="4958" actId="478"/>
          <ac:cxnSpMkLst>
            <pc:docMk/>
            <pc:sldMk cId="3121307498" sldId="2134806348"/>
            <ac:cxnSpMk id="11" creationId="{E502FB7F-08B3-473F-9827-C88F050F5A53}"/>
          </ac:cxnSpMkLst>
        </pc:cxnChg>
      </pc:sldChg>
      <pc:sldChg chg="add del">
        <pc:chgData name="STEPANCHENKO, D. (Dmitrii)" userId="30c9d29d-ac41-46ff-b2be-c3f5dd1e26e1" providerId="ADAL" clId="{0D4D30D3-52F8-490C-8E8C-24DC58349B06}" dt="2022-12-23T11:23:23.834" v="4279" actId="47"/>
        <pc:sldMkLst>
          <pc:docMk/>
          <pc:sldMk cId="124101785" sldId="2134806349"/>
        </pc:sldMkLst>
      </pc:sldChg>
      <pc:sldChg chg="addSp delSp modSp new mod">
        <pc:chgData name="STEPANCHENKO, D. (Dmitrii)" userId="30c9d29d-ac41-46ff-b2be-c3f5dd1e26e1" providerId="ADAL" clId="{0D4D30D3-52F8-490C-8E8C-24DC58349B06}" dt="2022-12-31T10:28:41.364" v="8161" actId="13926"/>
        <pc:sldMkLst>
          <pc:docMk/>
          <pc:sldMk cId="360950131" sldId="2134806349"/>
        </pc:sldMkLst>
        <pc:spChg chg="add mod">
          <ac:chgData name="STEPANCHENKO, D. (Dmitrii)" userId="30c9d29d-ac41-46ff-b2be-c3f5dd1e26e1" providerId="ADAL" clId="{0D4D30D3-52F8-490C-8E8C-24DC58349B06}" dt="2022-12-31T09:54:33.035" v="7679" actId="20577"/>
          <ac:spMkLst>
            <pc:docMk/>
            <pc:sldMk cId="360950131" sldId="2134806349"/>
            <ac:spMk id="3" creationId="{883B87B3-D1D2-4A3B-97F2-6F7840DB0C96}"/>
          </ac:spMkLst>
        </pc:spChg>
        <pc:spChg chg="add del mod">
          <ac:chgData name="STEPANCHENKO, D. (Dmitrii)" userId="30c9d29d-ac41-46ff-b2be-c3f5dd1e26e1" providerId="ADAL" clId="{0D4D30D3-52F8-490C-8E8C-24DC58349B06}" dt="2022-12-31T09:37:52.183" v="7497" actId="478"/>
          <ac:spMkLst>
            <pc:docMk/>
            <pc:sldMk cId="360950131" sldId="2134806349"/>
            <ac:spMk id="4" creationId="{EA22778B-F400-432D-BB24-0582B34F780D}"/>
          </ac:spMkLst>
        </pc:spChg>
        <pc:spChg chg="add del mod">
          <ac:chgData name="STEPANCHENKO, D. (Dmitrii)" userId="30c9d29d-ac41-46ff-b2be-c3f5dd1e26e1" providerId="ADAL" clId="{0D4D30D3-52F8-490C-8E8C-24DC58349B06}" dt="2022-12-31T09:49:43.387" v="7532" actId="478"/>
          <ac:spMkLst>
            <pc:docMk/>
            <pc:sldMk cId="360950131" sldId="2134806349"/>
            <ac:spMk id="5" creationId="{35860DDC-CD3B-48EA-A8E4-1728A29086D2}"/>
          </ac:spMkLst>
        </pc:spChg>
        <pc:spChg chg="add mod">
          <ac:chgData name="STEPANCHENKO, D. (Dmitrii)" userId="30c9d29d-ac41-46ff-b2be-c3f5dd1e26e1" providerId="ADAL" clId="{0D4D30D3-52F8-490C-8E8C-24DC58349B06}" dt="2022-12-31T09:58:04.720" v="7718" actId="113"/>
          <ac:spMkLst>
            <pc:docMk/>
            <pc:sldMk cId="360950131" sldId="2134806349"/>
            <ac:spMk id="6" creationId="{71D31709-4D55-4C34-ADBC-AA0A4AD2523F}"/>
          </ac:spMkLst>
        </pc:spChg>
        <pc:spChg chg="add mod">
          <ac:chgData name="STEPANCHENKO, D. (Dmitrii)" userId="30c9d29d-ac41-46ff-b2be-c3f5dd1e26e1" providerId="ADAL" clId="{0D4D30D3-52F8-490C-8E8C-24DC58349B06}" dt="2022-12-31T09:54:27.159" v="7675" actId="20577"/>
          <ac:spMkLst>
            <pc:docMk/>
            <pc:sldMk cId="360950131" sldId="2134806349"/>
            <ac:spMk id="7" creationId="{9553823D-25F9-4338-8CFF-88676D4B8CD0}"/>
          </ac:spMkLst>
        </pc:spChg>
        <pc:spChg chg="add del mod">
          <ac:chgData name="STEPANCHENKO, D. (Dmitrii)" userId="30c9d29d-ac41-46ff-b2be-c3f5dd1e26e1" providerId="ADAL" clId="{0D4D30D3-52F8-490C-8E8C-24DC58349B06}" dt="2022-12-31T09:53:46.647" v="7668"/>
          <ac:spMkLst>
            <pc:docMk/>
            <pc:sldMk cId="360950131" sldId="2134806349"/>
            <ac:spMk id="8" creationId="{0BB210D5-AE4A-468F-B8D7-D821D5F51960}"/>
          </ac:spMkLst>
        </pc:spChg>
        <pc:spChg chg="add mod">
          <ac:chgData name="STEPANCHENKO, D. (Dmitrii)" userId="30c9d29d-ac41-46ff-b2be-c3f5dd1e26e1" providerId="ADAL" clId="{0D4D30D3-52F8-490C-8E8C-24DC58349B06}" dt="2022-12-31T10:15:45.190" v="7950" actId="1035"/>
          <ac:spMkLst>
            <pc:docMk/>
            <pc:sldMk cId="360950131" sldId="2134806349"/>
            <ac:spMk id="9" creationId="{F862E89A-04D9-42DC-8E11-7E5508016823}"/>
          </ac:spMkLst>
        </pc:spChg>
        <pc:spChg chg="add mod">
          <ac:chgData name="STEPANCHENKO, D. (Dmitrii)" userId="30c9d29d-ac41-46ff-b2be-c3f5dd1e26e1" providerId="ADAL" clId="{0D4D30D3-52F8-490C-8E8C-24DC58349B06}" dt="2022-12-31T10:01:09.537" v="7768" actId="20577"/>
          <ac:spMkLst>
            <pc:docMk/>
            <pc:sldMk cId="360950131" sldId="2134806349"/>
            <ac:spMk id="10" creationId="{2254E375-2FB3-4511-9C58-9442856C2042}"/>
          </ac:spMkLst>
        </pc:spChg>
        <pc:spChg chg="add mod">
          <ac:chgData name="STEPANCHENKO, D. (Dmitrii)" userId="30c9d29d-ac41-46ff-b2be-c3f5dd1e26e1" providerId="ADAL" clId="{0D4D30D3-52F8-490C-8E8C-24DC58349B06}" dt="2022-12-31T10:01:28.341" v="7769" actId="20577"/>
          <ac:spMkLst>
            <pc:docMk/>
            <pc:sldMk cId="360950131" sldId="2134806349"/>
            <ac:spMk id="11" creationId="{75116657-C492-4787-B89F-2E382C74A770}"/>
          </ac:spMkLst>
        </pc:spChg>
        <pc:spChg chg="add del mod">
          <ac:chgData name="STEPANCHENKO, D. (Dmitrii)" userId="30c9d29d-ac41-46ff-b2be-c3f5dd1e26e1" providerId="ADAL" clId="{0D4D30D3-52F8-490C-8E8C-24DC58349B06}" dt="2022-12-31T10:16:20.435" v="7958"/>
          <ac:spMkLst>
            <pc:docMk/>
            <pc:sldMk cId="360950131" sldId="2134806349"/>
            <ac:spMk id="12" creationId="{8CECEFCD-8BBE-46F4-A15C-222771981066}"/>
          </ac:spMkLst>
        </pc:spChg>
        <pc:spChg chg="add mod">
          <ac:chgData name="STEPANCHENKO, D. (Dmitrii)" userId="30c9d29d-ac41-46ff-b2be-c3f5dd1e26e1" providerId="ADAL" clId="{0D4D30D3-52F8-490C-8E8C-24DC58349B06}" dt="2022-12-31T10:15:30.102" v="7930" actId="208"/>
          <ac:spMkLst>
            <pc:docMk/>
            <pc:sldMk cId="360950131" sldId="2134806349"/>
            <ac:spMk id="13" creationId="{C3176AA9-79B2-4078-AB48-06CE14816A48}"/>
          </ac:spMkLst>
        </pc:spChg>
        <pc:spChg chg="add mod">
          <ac:chgData name="STEPANCHENKO, D. (Dmitrii)" userId="30c9d29d-ac41-46ff-b2be-c3f5dd1e26e1" providerId="ADAL" clId="{0D4D30D3-52F8-490C-8E8C-24DC58349B06}" dt="2022-12-31T10:15:40.795" v="7933" actId="14100"/>
          <ac:spMkLst>
            <pc:docMk/>
            <pc:sldMk cId="360950131" sldId="2134806349"/>
            <ac:spMk id="14" creationId="{259EA7A0-89DC-4662-ADF7-A34222303E96}"/>
          </ac:spMkLst>
        </pc:spChg>
        <pc:spChg chg="add mod">
          <ac:chgData name="STEPANCHENKO, D. (Dmitrii)" userId="30c9d29d-ac41-46ff-b2be-c3f5dd1e26e1" providerId="ADAL" clId="{0D4D30D3-52F8-490C-8E8C-24DC58349B06}" dt="2022-12-31T10:16:03.576" v="7953" actId="208"/>
          <ac:spMkLst>
            <pc:docMk/>
            <pc:sldMk cId="360950131" sldId="2134806349"/>
            <ac:spMk id="15" creationId="{E6217700-48BD-4F57-ABEE-041604653B78}"/>
          </ac:spMkLst>
        </pc:spChg>
        <pc:spChg chg="add mod">
          <ac:chgData name="STEPANCHENKO, D. (Dmitrii)" userId="30c9d29d-ac41-46ff-b2be-c3f5dd1e26e1" providerId="ADAL" clId="{0D4D30D3-52F8-490C-8E8C-24DC58349B06}" dt="2022-12-31T10:19:52.317" v="7978" actId="1076"/>
          <ac:spMkLst>
            <pc:docMk/>
            <pc:sldMk cId="360950131" sldId="2134806349"/>
            <ac:spMk id="21" creationId="{A3D901E1-D7CE-442B-B7D6-9C2E29C94163}"/>
          </ac:spMkLst>
        </pc:spChg>
        <pc:spChg chg="add mod">
          <ac:chgData name="STEPANCHENKO, D. (Dmitrii)" userId="30c9d29d-ac41-46ff-b2be-c3f5dd1e26e1" providerId="ADAL" clId="{0D4D30D3-52F8-490C-8E8C-24DC58349B06}" dt="2022-12-31T10:20:11.377" v="7982" actId="1076"/>
          <ac:spMkLst>
            <pc:docMk/>
            <pc:sldMk cId="360950131" sldId="2134806349"/>
            <ac:spMk id="23" creationId="{5DED1613-F425-403B-900C-6746670A4E2E}"/>
          </ac:spMkLst>
        </pc:spChg>
        <pc:spChg chg="add mod">
          <ac:chgData name="STEPANCHENKO, D. (Dmitrii)" userId="30c9d29d-ac41-46ff-b2be-c3f5dd1e26e1" providerId="ADAL" clId="{0D4D30D3-52F8-490C-8E8C-24DC58349B06}" dt="2022-12-31T10:27:36.217" v="8068" actId="207"/>
          <ac:spMkLst>
            <pc:docMk/>
            <pc:sldMk cId="360950131" sldId="2134806349"/>
            <ac:spMk id="24" creationId="{C56E59CD-596D-4481-96B1-A5922026B5E6}"/>
          </ac:spMkLst>
        </pc:spChg>
        <pc:spChg chg="add mod">
          <ac:chgData name="STEPANCHENKO, D. (Dmitrii)" userId="30c9d29d-ac41-46ff-b2be-c3f5dd1e26e1" providerId="ADAL" clId="{0D4D30D3-52F8-490C-8E8C-24DC58349B06}" dt="2022-12-31T10:28:41.364" v="8161" actId="13926"/>
          <ac:spMkLst>
            <pc:docMk/>
            <pc:sldMk cId="360950131" sldId="2134806349"/>
            <ac:spMk id="25" creationId="{3791451D-F1FF-4866-BEE7-76DB3C40E6CC}"/>
          </ac:spMkLst>
        </pc:spChg>
        <pc:picChg chg="add mod">
          <ac:chgData name="STEPANCHENKO, D. (Dmitrii)" userId="30c9d29d-ac41-46ff-b2be-c3f5dd1e26e1" providerId="ADAL" clId="{0D4D30D3-52F8-490C-8E8C-24DC58349B06}" dt="2022-12-31T10:27:14.788" v="8062" actId="2085"/>
          <ac:picMkLst>
            <pc:docMk/>
            <pc:sldMk cId="360950131" sldId="2134806349"/>
            <ac:picMk id="19" creationId="{E9D36FD0-7880-46B9-BE12-852B3DFACF76}"/>
          </ac:picMkLst>
        </pc:picChg>
        <pc:cxnChg chg="add mod">
          <ac:chgData name="STEPANCHENKO, D. (Dmitrii)" userId="30c9d29d-ac41-46ff-b2be-c3f5dd1e26e1" providerId="ADAL" clId="{0D4D30D3-52F8-490C-8E8C-24DC58349B06}" dt="2022-12-31T10:16:12.677" v="7955" actId="208"/>
          <ac:cxnSpMkLst>
            <pc:docMk/>
            <pc:sldMk cId="360950131" sldId="2134806349"/>
            <ac:cxnSpMk id="17" creationId="{3EE0A07F-DE4D-4BE0-AC12-E01AFA9531B8}"/>
          </ac:cxnSpMkLst>
        </pc:cxnChg>
      </pc:sldChg>
      <pc:sldChg chg="add del">
        <pc:chgData name="STEPANCHENKO, D. (Dmitrii)" userId="30c9d29d-ac41-46ff-b2be-c3f5dd1e26e1" providerId="ADAL" clId="{0D4D30D3-52F8-490C-8E8C-24DC58349B06}" dt="2022-12-23T13:57:58.859" v="7139" actId="47"/>
        <pc:sldMkLst>
          <pc:docMk/>
          <pc:sldMk cId="4208811984" sldId="2134806349"/>
        </pc:sldMkLst>
      </pc:sldChg>
      <pc:sldChg chg="add del">
        <pc:chgData name="STEPANCHENKO, D. (Dmitrii)" userId="30c9d29d-ac41-46ff-b2be-c3f5dd1e26e1" providerId="ADAL" clId="{0D4D30D3-52F8-490C-8E8C-24DC58349B06}" dt="2022-12-23T11:23:23.834" v="4279" actId="47"/>
        <pc:sldMkLst>
          <pc:docMk/>
          <pc:sldMk cId="493320302" sldId="2134806350"/>
        </pc:sldMkLst>
      </pc:sldChg>
    </pc:docChg>
  </pc:docChgLst>
  <pc:docChgLst>
    <pc:chgData name="STEPANCHENKO, D. (Dmitrii)" userId="30c9d29d-ac41-46ff-b2be-c3f5dd1e26e1" providerId="ADAL" clId="{AECDBD64-E75C-4C05-9678-D3B35BDA44EC}"/>
    <pc:docChg chg="undo redo custSel addSld delSld modSld sldOrd modSection">
      <pc:chgData name="STEPANCHENKO, D. (Dmitrii)" userId="30c9d29d-ac41-46ff-b2be-c3f5dd1e26e1" providerId="ADAL" clId="{AECDBD64-E75C-4C05-9678-D3B35BDA44EC}" dt="2023-01-28T09:22:12.054" v="8181" actId="729"/>
      <pc:docMkLst>
        <pc:docMk/>
      </pc:docMkLst>
      <pc:sldChg chg="modSp mod">
        <pc:chgData name="STEPANCHENKO, D. (Dmitrii)" userId="30c9d29d-ac41-46ff-b2be-c3f5dd1e26e1" providerId="ADAL" clId="{AECDBD64-E75C-4C05-9678-D3B35BDA44EC}" dt="2023-01-05T16:52:21.942" v="8" actId="1076"/>
        <pc:sldMkLst>
          <pc:docMk/>
          <pc:sldMk cId="1150082579" sldId="2134806261"/>
        </pc:sldMkLst>
        <pc:spChg chg="mod">
          <ac:chgData name="STEPANCHENKO, D. (Dmitrii)" userId="30c9d29d-ac41-46ff-b2be-c3f5dd1e26e1" providerId="ADAL" clId="{AECDBD64-E75C-4C05-9678-D3B35BDA44EC}" dt="2023-01-05T16:52:21.942" v="8" actId="1076"/>
          <ac:spMkLst>
            <pc:docMk/>
            <pc:sldMk cId="1150082579" sldId="2134806261"/>
            <ac:spMk id="7" creationId="{00000000-0000-0000-0000-000000000000}"/>
          </ac:spMkLst>
        </pc:spChg>
      </pc:sldChg>
      <pc:sldChg chg="addSp modSp mod modAnim">
        <pc:chgData name="STEPANCHENKO, D. (Dmitrii)" userId="30c9d29d-ac41-46ff-b2be-c3f5dd1e26e1" providerId="ADAL" clId="{AECDBD64-E75C-4C05-9678-D3B35BDA44EC}" dt="2023-01-21T07:44:18.279" v="5627"/>
        <pc:sldMkLst>
          <pc:docMk/>
          <pc:sldMk cId="826615147" sldId="2134806265"/>
        </pc:sldMkLst>
        <pc:spChg chg="mod">
          <ac:chgData name="STEPANCHENKO, D. (Dmitrii)" userId="30c9d29d-ac41-46ff-b2be-c3f5dd1e26e1" providerId="ADAL" clId="{AECDBD64-E75C-4C05-9678-D3B35BDA44EC}" dt="2023-01-21T07:43:48.734" v="5621" actId="20577"/>
          <ac:spMkLst>
            <pc:docMk/>
            <pc:sldMk cId="826615147" sldId="2134806265"/>
            <ac:spMk id="3" creationId="{00000000-0000-0000-0000-000000000000}"/>
          </ac:spMkLst>
        </pc:spChg>
        <pc:spChg chg="add mod">
          <ac:chgData name="STEPANCHENKO, D. (Dmitrii)" userId="30c9d29d-ac41-46ff-b2be-c3f5dd1e26e1" providerId="ADAL" clId="{AECDBD64-E75C-4C05-9678-D3B35BDA44EC}" dt="2023-01-21T07:44:01.114" v="5625" actId="14100"/>
          <ac:spMkLst>
            <pc:docMk/>
            <pc:sldMk cId="826615147" sldId="2134806265"/>
            <ac:spMk id="7" creationId="{6D4CA871-D773-1923-93F4-200B8F534473}"/>
          </ac:spMkLst>
        </pc:spChg>
        <pc:spChg chg="mod">
          <ac:chgData name="STEPANCHENKO, D. (Dmitrii)" userId="30c9d29d-ac41-46ff-b2be-c3f5dd1e26e1" providerId="ADAL" clId="{AECDBD64-E75C-4C05-9678-D3B35BDA44EC}" dt="2023-01-21T07:42:09.881" v="5608" actId="1038"/>
          <ac:spMkLst>
            <pc:docMk/>
            <pc:sldMk cId="826615147" sldId="2134806265"/>
            <ac:spMk id="9" creationId="{00000000-0000-0000-0000-000000000000}"/>
          </ac:spMkLst>
        </pc:spChg>
      </pc:sldChg>
      <pc:sldChg chg="addSp delSp modSp mod">
        <pc:chgData name="STEPANCHENKO, D. (Dmitrii)" userId="30c9d29d-ac41-46ff-b2be-c3f5dd1e26e1" providerId="ADAL" clId="{AECDBD64-E75C-4C05-9678-D3B35BDA44EC}" dt="2023-01-26T14:46:10.959" v="8007"/>
        <pc:sldMkLst>
          <pc:docMk/>
          <pc:sldMk cId="4146022198" sldId="2134806269"/>
        </pc:sldMkLst>
        <pc:spChg chg="add mod">
          <ac:chgData name="STEPANCHENKO, D. (Dmitrii)" userId="30c9d29d-ac41-46ff-b2be-c3f5dd1e26e1" providerId="ADAL" clId="{AECDBD64-E75C-4C05-9678-D3B35BDA44EC}" dt="2023-01-26T14:46:10.959" v="8007"/>
          <ac:spMkLst>
            <pc:docMk/>
            <pc:sldMk cId="4146022198" sldId="2134806269"/>
            <ac:spMk id="3" creationId="{A27F57D4-A9B3-09B0-FE14-6C2E38A57A8A}"/>
          </ac:spMkLst>
        </pc:spChg>
        <pc:spChg chg="mod">
          <ac:chgData name="STEPANCHENKO, D. (Dmitrii)" userId="30c9d29d-ac41-46ff-b2be-c3f5dd1e26e1" providerId="ADAL" clId="{AECDBD64-E75C-4C05-9678-D3B35BDA44EC}" dt="2023-01-17T12:50:32.279" v="4454" actId="20577"/>
          <ac:spMkLst>
            <pc:docMk/>
            <pc:sldMk cId="4146022198" sldId="2134806269"/>
            <ac:spMk id="4" creationId="{E704B17B-2B24-A94D-BEEB-3665EC84CBC2}"/>
          </ac:spMkLst>
        </pc:spChg>
        <pc:spChg chg="del">
          <ac:chgData name="STEPANCHENKO, D. (Dmitrii)" userId="30c9d29d-ac41-46ff-b2be-c3f5dd1e26e1" providerId="ADAL" clId="{AECDBD64-E75C-4C05-9678-D3B35BDA44EC}" dt="2023-01-21T07:46:45.948" v="5628" actId="478"/>
          <ac:spMkLst>
            <pc:docMk/>
            <pc:sldMk cId="4146022198" sldId="2134806269"/>
            <ac:spMk id="9" creationId="{0321E1AF-71DF-9F4F-49D4-42B6DEF18470}"/>
          </ac:spMkLst>
        </pc:spChg>
      </pc:sldChg>
      <pc:sldChg chg="addSp modSp mod modAnim">
        <pc:chgData name="STEPANCHENKO, D. (Dmitrii)" userId="30c9d29d-ac41-46ff-b2be-c3f5dd1e26e1" providerId="ADAL" clId="{AECDBD64-E75C-4C05-9678-D3B35BDA44EC}" dt="2023-01-21T07:41:03.362" v="5592"/>
        <pc:sldMkLst>
          <pc:docMk/>
          <pc:sldMk cId="1937308450" sldId="2134806270"/>
        </pc:sldMkLst>
        <pc:spChg chg="mod">
          <ac:chgData name="STEPANCHENKO, D. (Dmitrii)" userId="30c9d29d-ac41-46ff-b2be-c3f5dd1e26e1" providerId="ADAL" clId="{AECDBD64-E75C-4C05-9678-D3B35BDA44EC}" dt="2023-01-21T07:39:56.088" v="5587" actId="20577"/>
          <ac:spMkLst>
            <pc:docMk/>
            <pc:sldMk cId="1937308450" sldId="2134806270"/>
            <ac:spMk id="5" creationId="{81BD1123-3626-1C45-BF5B-1C1864FA8AFA}"/>
          </ac:spMkLst>
        </pc:spChg>
        <pc:spChg chg="mod">
          <ac:chgData name="STEPANCHENKO, D. (Dmitrii)" userId="30c9d29d-ac41-46ff-b2be-c3f5dd1e26e1" providerId="ADAL" clId="{AECDBD64-E75C-4C05-9678-D3B35BDA44EC}" dt="2023-01-17T12:46:09.547" v="4394" actId="14100"/>
          <ac:spMkLst>
            <pc:docMk/>
            <pc:sldMk cId="1937308450" sldId="2134806270"/>
            <ac:spMk id="13" creationId="{D0F5E880-23A1-0B1F-8822-6311867CBE2F}"/>
          </ac:spMkLst>
        </pc:spChg>
        <pc:picChg chg="add mod">
          <ac:chgData name="STEPANCHENKO, D. (Dmitrii)" userId="30c9d29d-ac41-46ff-b2be-c3f5dd1e26e1" providerId="ADAL" clId="{AECDBD64-E75C-4C05-9678-D3B35BDA44EC}" dt="2023-01-21T07:40:53.022" v="5591" actId="14100"/>
          <ac:picMkLst>
            <pc:docMk/>
            <pc:sldMk cId="1937308450" sldId="2134806270"/>
            <ac:picMk id="4" creationId="{0619EBE1-0113-276A-8017-1672F93BFF8E}"/>
          </ac:picMkLst>
        </pc:picChg>
      </pc:sldChg>
      <pc:sldChg chg="addSp delSp modSp mod">
        <pc:chgData name="STEPANCHENKO, D. (Dmitrii)" userId="30c9d29d-ac41-46ff-b2be-c3f5dd1e26e1" providerId="ADAL" clId="{AECDBD64-E75C-4C05-9678-D3B35BDA44EC}" dt="2023-01-26T14:46:08.904" v="8006" actId="21"/>
        <pc:sldMkLst>
          <pc:docMk/>
          <pc:sldMk cId="3806807723" sldId="2134806271"/>
        </pc:sldMkLst>
        <pc:spChg chg="add del mod">
          <ac:chgData name="STEPANCHENKO, D. (Dmitrii)" userId="30c9d29d-ac41-46ff-b2be-c3f5dd1e26e1" providerId="ADAL" clId="{AECDBD64-E75C-4C05-9678-D3B35BDA44EC}" dt="2023-01-26T14:46:08.904" v="8006" actId="21"/>
          <ac:spMkLst>
            <pc:docMk/>
            <pc:sldMk cId="3806807723" sldId="2134806271"/>
            <ac:spMk id="3" creationId="{E40C9FF6-E2EB-6E98-C740-A91B97198C40}"/>
          </ac:spMkLst>
        </pc:spChg>
      </pc:sldChg>
      <pc:sldChg chg="addSp delSp modSp mod">
        <pc:chgData name="STEPANCHENKO, D. (Dmitrii)" userId="30c9d29d-ac41-46ff-b2be-c3f5dd1e26e1" providerId="ADAL" clId="{AECDBD64-E75C-4C05-9678-D3B35BDA44EC}" dt="2023-01-28T09:10:30.067" v="8180" actId="20577"/>
        <pc:sldMkLst>
          <pc:docMk/>
          <pc:sldMk cId="2322687294" sldId="2134806289"/>
        </pc:sldMkLst>
        <pc:spChg chg="add mod">
          <ac:chgData name="STEPANCHENKO, D. (Dmitrii)" userId="30c9d29d-ac41-46ff-b2be-c3f5dd1e26e1" providerId="ADAL" clId="{AECDBD64-E75C-4C05-9678-D3B35BDA44EC}" dt="2023-01-28T09:10:30.067" v="8180" actId="20577"/>
          <ac:spMkLst>
            <pc:docMk/>
            <pc:sldMk cId="2322687294" sldId="2134806289"/>
            <ac:spMk id="4" creationId="{FABF48EB-F5DD-73B7-0214-661762AC84D0}"/>
          </ac:spMkLst>
        </pc:spChg>
        <pc:spChg chg="mod">
          <ac:chgData name="STEPANCHENKO, D. (Dmitrii)" userId="30c9d29d-ac41-46ff-b2be-c3f5dd1e26e1" providerId="ADAL" clId="{AECDBD64-E75C-4C05-9678-D3B35BDA44EC}" dt="2023-01-26T13:33:01.598" v="7461" actId="255"/>
          <ac:spMkLst>
            <pc:docMk/>
            <pc:sldMk cId="2322687294" sldId="2134806289"/>
            <ac:spMk id="6" creationId="{7304A516-7872-1BDB-C272-35B46237BDC5}"/>
          </ac:spMkLst>
        </pc:spChg>
        <pc:spChg chg="mod">
          <ac:chgData name="STEPANCHENKO, D. (Dmitrii)" userId="30c9d29d-ac41-46ff-b2be-c3f5dd1e26e1" providerId="ADAL" clId="{AECDBD64-E75C-4C05-9678-D3B35BDA44EC}" dt="2023-01-26T13:33:15.252" v="7502" actId="1035"/>
          <ac:spMkLst>
            <pc:docMk/>
            <pc:sldMk cId="2322687294" sldId="2134806289"/>
            <ac:spMk id="9" creationId="{17E51F88-4398-76C0-3DF9-8503C88BEBE1}"/>
          </ac:spMkLst>
        </pc:spChg>
        <pc:spChg chg="add del">
          <ac:chgData name="STEPANCHENKO, D. (Dmitrii)" userId="30c9d29d-ac41-46ff-b2be-c3f5dd1e26e1" providerId="ADAL" clId="{AECDBD64-E75C-4C05-9678-D3B35BDA44EC}" dt="2023-01-28T09:08:42.159" v="8178" actId="478"/>
          <ac:spMkLst>
            <pc:docMk/>
            <pc:sldMk cId="2322687294" sldId="2134806289"/>
            <ac:spMk id="10" creationId="{4E427729-0D39-ED08-E5B8-FA2E3D08BE23}"/>
          </ac:spMkLst>
        </pc:spChg>
        <pc:graphicFrameChg chg="mod">
          <ac:chgData name="STEPANCHENKO, D. (Dmitrii)" userId="30c9d29d-ac41-46ff-b2be-c3f5dd1e26e1" providerId="ADAL" clId="{AECDBD64-E75C-4C05-9678-D3B35BDA44EC}" dt="2023-01-26T13:33:28.627" v="7504" actId="14100"/>
          <ac:graphicFrameMkLst>
            <pc:docMk/>
            <pc:sldMk cId="2322687294" sldId="2134806289"/>
            <ac:graphicFrameMk id="3" creationId="{A12E7895-C2CC-4F97-8797-1EDFDB6BAB8A}"/>
          </ac:graphicFrameMkLst>
        </pc:graphicFrameChg>
        <pc:graphicFrameChg chg="mod">
          <ac:chgData name="STEPANCHENKO, D. (Dmitrii)" userId="30c9d29d-ac41-46ff-b2be-c3f5dd1e26e1" providerId="ADAL" clId="{AECDBD64-E75C-4C05-9678-D3B35BDA44EC}" dt="2023-01-26T13:33:20.612" v="7503" actId="14100"/>
          <ac:graphicFrameMkLst>
            <pc:docMk/>
            <pc:sldMk cId="2322687294" sldId="2134806289"/>
            <ac:graphicFrameMk id="8" creationId="{1A4ACF02-C0D9-4956-8284-1CE9DD6E2608}"/>
          </ac:graphicFrameMkLst>
        </pc:graphicFrameChg>
      </pc:sldChg>
      <pc:sldChg chg="modSp mod">
        <pc:chgData name="STEPANCHENKO, D. (Dmitrii)" userId="30c9d29d-ac41-46ff-b2be-c3f5dd1e26e1" providerId="ADAL" clId="{AECDBD64-E75C-4C05-9678-D3B35BDA44EC}" dt="2023-01-26T14:41:51.002" v="7970" actId="313"/>
        <pc:sldMkLst>
          <pc:docMk/>
          <pc:sldMk cId="1987294738" sldId="2134806293"/>
        </pc:sldMkLst>
        <pc:spChg chg="mod">
          <ac:chgData name="STEPANCHENKO, D. (Dmitrii)" userId="30c9d29d-ac41-46ff-b2be-c3f5dd1e26e1" providerId="ADAL" clId="{AECDBD64-E75C-4C05-9678-D3B35BDA44EC}" dt="2023-01-26T14:41:51.002" v="7970" actId="313"/>
          <ac:spMkLst>
            <pc:docMk/>
            <pc:sldMk cId="1987294738" sldId="2134806293"/>
            <ac:spMk id="11" creationId="{4A89C080-E02A-4114-9A18-64ED1A28D56E}"/>
          </ac:spMkLst>
        </pc:spChg>
        <pc:spChg chg="mod">
          <ac:chgData name="STEPANCHENKO, D. (Dmitrii)" userId="30c9d29d-ac41-46ff-b2be-c3f5dd1e26e1" providerId="ADAL" clId="{AECDBD64-E75C-4C05-9678-D3B35BDA44EC}" dt="2023-01-26T14:26:25.273" v="7947" actId="1036"/>
          <ac:spMkLst>
            <pc:docMk/>
            <pc:sldMk cId="1987294738" sldId="2134806293"/>
            <ac:spMk id="12" creationId="{5BECD0C1-26C4-4E02-BB63-25E01F272DF2}"/>
          </ac:spMkLst>
        </pc:spChg>
        <pc:spChg chg="mod">
          <ac:chgData name="STEPANCHENKO, D. (Dmitrii)" userId="30c9d29d-ac41-46ff-b2be-c3f5dd1e26e1" providerId="ADAL" clId="{AECDBD64-E75C-4C05-9678-D3B35BDA44EC}" dt="2023-01-26T14:26:25.273" v="7947" actId="1036"/>
          <ac:spMkLst>
            <pc:docMk/>
            <pc:sldMk cId="1987294738" sldId="2134806293"/>
            <ac:spMk id="13" creationId="{4D660AA7-3162-4D46-B4E1-8000203E46DB}"/>
          </ac:spMkLst>
        </pc:spChg>
        <pc:picChg chg="mod">
          <ac:chgData name="STEPANCHENKO, D. (Dmitrii)" userId="30c9d29d-ac41-46ff-b2be-c3f5dd1e26e1" providerId="ADAL" clId="{AECDBD64-E75C-4C05-9678-D3B35BDA44EC}" dt="2023-01-26T14:26:15.306" v="7930" actId="1036"/>
          <ac:picMkLst>
            <pc:docMk/>
            <pc:sldMk cId="1987294738" sldId="2134806293"/>
            <ac:picMk id="7" creationId="{DA22D0AB-A3F3-4384-959B-21FC75464F37}"/>
          </ac:picMkLst>
        </pc:picChg>
        <pc:picChg chg="mod">
          <ac:chgData name="STEPANCHENKO, D. (Dmitrii)" userId="30c9d29d-ac41-46ff-b2be-c3f5dd1e26e1" providerId="ADAL" clId="{AECDBD64-E75C-4C05-9678-D3B35BDA44EC}" dt="2023-01-26T14:26:15.306" v="7930" actId="1036"/>
          <ac:picMkLst>
            <pc:docMk/>
            <pc:sldMk cId="1987294738" sldId="2134806293"/>
            <ac:picMk id="9" creationId="{D4025C18-5336-4476-B071-56F399D22E06}"/>
          </ac:picMkLst>
        </pc:picChg>
      </pc:sldChg>
      <pc:sldChg chg="addSp delSp modSp mod addCm delCm">
        <pc:chgData name="STEPANCHENKO, D. (Dmitrii)" userId="30c9d29d-ac41-46ff-b2be-c3f5dd1e26e1" providerId="ADAL" clId="{AECDBD64-E75C-4C05-9678-D3B35BDA44EC}" dt="2023-01-26T14:41:04.034" v="7969" actId="478"/>
        <pc:sldMkLst>
          <pc:docMk/>
          <pc:sldMk cId="860713518" sldId="2134806317"/>
        </pc:sldMkLst>
        <pc:spChg chg="mod">
          <ac:chgData name="STEPANCHENKO, D. (Dmitrii)" userId="30c9d29d-ac41-46ff-b2be-c3f5dd1e26e1" providerId="ADAL" clId="{AECDBD64-E75C-4C05-9678-D3B35BDA44EC}" dt="2023-01-26T13:08:26.036" v="6964" actId="20577"/>
          <ac:spMkLst>
            <pc:docMk/>
            <pc:sldMk cId="860713518" sldId="2134806317"/>
            <ac:spMk id="6" creationId="{CA023485-E4D0-17B0-F130-39357FD06C63}"/>
          </ac:spMkLst>
        </pc:spChg>
        <pc:graphicFrameChg chg="add del">
          <ac:chgData name="STEPANCHENKO, D. (Dmitrii)" userId="30c9d29d-ac41-46ff-b2be-c3f5dd1e26e1" providerId="ADAL" clId="{AECDBD64-E75C-4C05-9678-D3B35BDA44EC}" dt="2023-01-26T14:41:04.034" v="7969" actId="478"/>
          <ac:graphicFrameMkLst>
            <pc:docMk/>
            <pc:sldMk cId="860713518" sldId="2134806317"/>
            <ac:graphicFrameMk id="14" creationId="{C3AE15A4-BE13-59C3-1E96-9113C817F12F}"/>
          </ac:graphicFrameMkLst>
        </pc:graphicFrameChg>
      </pc:sldChg>
      <pc:sldChg chg="modSp mod">
        <pc:chgData name="STEPANCHENKO, D. (Dmitrii)" userId="30c9d29d-ac41-46ff-b2be-c3f5dd1e26e1" providerId="ADAL" clId="{AECDBD64-E75C-4C05-9678-D3B35BDA44EC}" dt="2023-01-17T12:41:34.749" v="4315" actId="20577"/>
        <pc:sldMkLst>
          <pc:docMk/>
          <pc:sldMk cId="328194484" sldId="2134806320"/>
        </pc:sldMkLst>
        <pc:spChg chg="mod">
          <ac:chgData name="STEPANCHENKO, D. (Dmitrii)" userId="30c9d29d-ac41-46ff-b2be-c3f5dd1e26e1" providerId="ADAL" clId="{AECDBD64-E75C-4C05-9678-D3B35BDA44EC}" dt="2023-01-17T12:41:34.749" v="4315" actId="20577"/>
          <ac:spMkLst>
            <pc:docMk/>
            <pc:sldMk cId="328194484" sldId="2134806320"/>
            <ac:spMk id="9" creationId="{93BE4C8E-A918-63CA-7D49-B8A18393AE70}"/>
          </ac:spMkLst>
        </pc:spChg>
      </pc:sldChg>
      <pc:sldChg chg="addSp delSp modSp mod">
        <pc:chgData name="STEPANCHENKO, D. (Dmitrii)" userId="30c9d29d-ac41-46ff-b2be-c3f5dd1e26e1" providerId="ADAL" clId="{AECDBD64-E75C-4C05-9678-D3B35BDA44EC}" dt="2023-01-28T07:38:08.807" v="8032" actId="207"/>
        <pc:sldMkLst>
          <pc:docMk/>
          <pc:sldMk cId="931874431" sldId="2134806321"/>
        </pc:sldMkLst>
        <pc:spChg chg="add del">
          <ac:chgData name="STEPANCHENKO, D. (Dmitrii)" userId="30c9d29d-ac41-46ff-b2be-c3f5dd1e26e1" providerId="ADAL" clId="{AECDBD64-E75C-4C05-9678-D3B35BDA44EC}" dt="2023-01-20T13:07:29.142" v="4804" actId="11529"/>
          <ac:spMkLst>
            <pc:docMk/>
            <pc:sldMk cId="931874431" sldId="2134806321"/>
            <ac:spMk id="3" creationId="{C92072A8-26D6-2AC5-0C89-633F93DD74FA}"/>
          </ac:spMkLst>
        </pc:spChg>
        <pc:spChg chg="add del">
          <ac:chgData name="STEPANCHENKO, D. (Dmitrii)" userId="30c9d29d-ac41-46ff-b2be-c3f5dd1e26e1" providerId="ADAL" clId="{AECDBD64-E75C-4C05-9678-D3B35BDA44EC}" dt="2023-01-20T13:07:59.881" v="4808" actId="478"/>
          <ac:spMkLst>
            <pc:docMk/>
            <pc:sldMk cId="931874431" sldId="2134806321"/>
            <ac:spMk id="4" creationId="{9966BA67-798A-4A89-7C6D-F86BB2B3D60C}"/>
          </ac:spMkLst>
        </pc:spChg>
        <pc:spChg chg="add mod">
          <ac:chgData name="STEPANCHENKO, D. (Dmitrii)" userId="30c9d29d-ac41-46ff-b2be-c3f5dd1e26e1" providerId="ADAL" clId="{AECDBD64-E75C-4C05-9678-D3B35BDA44EC}" dt="2023-01-26T13:04:05.889" v="6849" actId="1036"/>
          <ac:spMkLst>
            <pc:docMk/>
            <pc:sldMk cId="931874431" sldId="2134806321"/>
            <ac:spMk id="6" creationId="{AE0CF21A-7EEC-2647-7CE1-4307193910B5}"/>
          </ac:spMkLst>
        </pc:spChg>
        <pc:spChg chg="add del mod">
          <ac:chgData name="STEPANCHENKO, D. (Dmitrii)" userId="30c9d29d-ac41-46ff-b2be-c3f5dd1e26e1" providerId="ADAL" clId="{AECDBD64-E75C-4C05-9678-D3B35BDA44EC}" dt="2023-01-20T13:10:14.999" v="4870" actId="478"/>
          <ac:spMkLst>
            <pc:docMk/>
            <pc:sldMk cId="931874431" sldId="2134806321"/>
            <ac:spMk id="7" creationId="{0B0F0228-4BA9-1EC3-D47A-DECC3A6294C9}"/>
          </ac:spMkLst>
        </pc:spChg>
        <pc:spChg chg="add mod">
          <ac:chgData name="STEPANCHENKO, D. (Dmitrii)" userId="30c9d29d-ac41-46ff-b2be-c3f5dd1e26e1" providerId="ADAL" clId="{AECDBD64-E75C-4C05-9678-D3B35BDA44EC}" dt="2023-01-26T13:04:05.889" v="6849" actId="1036"/>
          <ac:spMkLst>
            <pc:docMk/>
            <pc:sldMk cId="931874431" sldId="2134806321"/>
            <ac:spMk id="8" creationId="{EF3AA727-580F-928C-D91B-08CCC90BB46B}"/>
          </ac:spMkLst>
        </pc:spChg>
        <pc:spChg chg="mod">
          <ac:chgData name="STEPANCHENKO, D. (Dmitrii)" userId="30c9d29d-ac41-46ff-b2be-c3f5dd1e26e1" providerId="ADAL" clId="{AECDBD64-E75C-4C05-9678-D3B35BDA44EC}" dt="2023-01-28T07:38:08.807" v="8032" actId="207"/>
          <ac:spMkLst>
            <pc:docMk/>
            <pc:sldMk cId="931874431" sldId="2134806321"/>
            <ac:spMk id="28" creationId="{680C9532-9059-68DF-88F9-42B190D45C92}"/>
          </ac:spMkLst>
        </pc:spChg>
        <pc:graphicFrameChg chg="add mod">
          <ac:chgData name="STEPANCHENKO, D. (Dmitrii)" userId="30c9d29d-ac41-46ff-b2be-c3f5dd1e26e1" providerId="ADAL" clId="{AECDBD64-E75C-4C05-9678-D3B35BDA44EC}" dt="2023-01-26T13:05:09.461" v="6929"/>
          <ac:graphicFrameMkLst>
            <pc:docMk/>
            <pc:sldMk cId="931874431" sldId="2134806321"/>
            <ac:graphicFrameMk id="3" creationId="{D105480F-C095-4C97-9245-C3CB74424EC1}"/>
          </ac:graphicFrameMkLst>
        </pc:graphicFrameChg>
        <pc:graphicFrameChg chg="del">
          <ac:chgData name="STEPANCHENKO, D. (Dmitrii)" userId="30c9d29d-ac41-46ff-b2be-c3f5dd1e26e1" providerId="ADAL" clId="{AECDBD64-E75C-4C05-9678-D3B35BDA44EC}" dt="2023-01-26T12:47:00.510" v="5871" actId="478"/>
          <ac:graphicFrameMkLst>
            <pc:docMk/>
            <pc:sldMk cId="931874431" sldId="2134806321"/>
            <ac:graphicFrameMk id="29" creationId="{D105480F-C095-4C97-9245-C3CB74424EC1}"/>
          </ac:graphicFrameMkLst>
        </pc:graphicFrameChg>
      </pc:sldChg>
      <pc:sldChg chg="modSp mod">
        <pc:chgData name="STEPANCHENKO, D. (Dmitrii)" userId="30c9d29d-ac41-46ff-b2be-c3f5dd1e26e1" providerId="ADAL" clId="{AECDBD64-E75C-4C05-9678-D3B35BDA44EC}" dt="2023-01-17T12:43:51.076" v="4350" actId="20577"/>
        <pc:sldMkLst>
          <pc:docMk/>
          <pc:sldMk cId="2685767378" sldId="2134806323"/>
        </pc:sldMkLst>
        <pc:spChg chg="mod">
          <ac:chgData name="STEPANCHENKO, D. (Dmitrii)" userId="30c9d29d-ac41-46ff-b2be-c3f5dd1e26e1" providerId="ADAL" clId="{AECDBD64-E75C-4C05-9678-D3B35BDA44EC}" dt="2023-01-17T12:43:51.076" v="4350" actId="20577"/>
          <ac:spMkLst>
            <pc:docMk/>
            <pc:sldMk cId="2685767378" sldId="2134806323"/>
            <ac:spMk id="15" creationId="{F99418B2-3F36-5FAE-FFC2-7F6A32748D08}"/>
          </ac:spMkLst>
        </pc:spChg>
      </pc:sldChg>
      <pc:sldChg chg="modSp mod">
        <pc:chgData name="STEPANCHENKO, D. (Dmitrii)" userId="30c9d29d-ac41-46ff-b2be-c3f5dd1e26e1" providerId="ADAL" clId="{AECDBD64-E75C-4C05-9678-D3B35BDA44EC}" dt="2023-01-17T12:52:44.001" v="4488" actId="20577"/>
        <pc:sldMkLst>
          <pc:docMk/>
          <pc:sldMk cId="521703837" sldId="2134806326"/>
        </pc:sldMkLst>
        <pc:spChg chg="mod">
          <ac:chgData name="STEPANCHENKO, D. (Dmitrii)" userId="30c9d29d-ac41-46ff-b2be-c3f5dd1e26e1" providerId="ADAL" clId="{AECDBD64-E75C-4C05-9678-D3B35BDA44EC}" dt="2023-01-17T12:52:44.001" v="4488" actId="20577"/>
          <ac:spMkLst>
            <pc:docMk/>
            <pc:sldMk cId="521703837" sldId="2134806326"/>
            <ac:spMk id="13" creationId="{16BA56AD-B511-423F-BF15-E0DDC142DC6C}"/>
          </ac:spMkLst>
        </pc:spChg>
      </pc:sldChg>
      <pc:sldChg chg="addSp delSp modSp mod">
        <pc:chgData name="STEPANCHENKO, D. (Dmitrii)" userId="30c9d29d-ac41-46ff-b2be-c3f5dd1e26e1" providerId="ADAL" clId="{AECDBD64-E75C-4C05-9678-D3B35BDA44EC}" dt="2023-01-28T07:44:59.838" v="8137" actId="1076"/>
        <pc:sldMkLst>
          <pc:docMk/>
          <pc:sldMk cId="1383993538" sldId="2134806327"/>
        </pc:sldMkLst>
        <pc:spChg chg="add del">
          <ac:chgData name="STEPANCHENKO, D. (Dmitrii)" userId="30c9d29d-ac41-46ff-b2be-c3f5dd1e26e1" providerId="ADAL" clId="{AECDBD64-E75C-4C05-9678-D3B35BDA44EC}" dt="2023-01-28T07:44:10.727" v="8085" actId="478"/>
          <ac:spMkLst>
            <pc:docMk/>
            <pc:sldMk cId="1383993538" sldId="2134806327"/>
            <ac:spMk id="3" creationId="{7B8D6EFB-9A45-CAF7-A2F4-45AEEF81CDAD}"/>
          </ac:spMkLst>
        </pc:spChg>
        <pc:spChg chg="add">
          <ac:chgData name="STEPANCHENKO, D. (Dmitrii)" userId="30c9d29d-ac41-46ff-b2be-c3f5dd1e26e1" providerId="ADAL" clId="{AECDBD64-E75C-4C05-9678-D3B35BDA44EC}" dt="2023-01-28T07:44:17.177" v="8086" actId="11529"/>
          <ac:spMkLst>
            <pc:docMk/>
            <pc:sldMk cId="1383993538" sldId="2134806327"/>
            <ac:spMk id="4" creationId="{19BE9838-E979-05E9-AE13-F65C01198833}"/>
          </ac:spMkLst>
        </pc:spChg>
        <pc:spChg chg="mod">
          <ac:chgData name="STEPANCHENKO, D. (Dmitrii)" userId="30c9d29d-ac41-46ff-b2be-c3f5dd1e26e1" providerId="ADAL" clId="{AECDBD64-E75C-4C05-9678-D3B35BDA44EC}" dt="2023-01-28T07:43:43.698" v="8081" actId="20577"/>
          <ac:spMkLst>
            <pc:docMk/>
            <pc:sldMk cId="1383993538" sldId="2134806327"/>
            <ac:spMk id="5" creationId="{81BD1123-3626-1C45-BF5B-1C1864FA8AFA}"/>
          </ac:spMkLst>
        </pc:spChg>
        <pc:spChg chg="add mod">
          <ac:chgData name="STEPANCHENKO, D. (Dmitrii)" userId="30c9d29d-ac41-46ff-b2be-c3f5dd1e26e1" providerId="ADAL" clId="{AECDBD64-E75C-4C05-9678-D3B35BDA44EC}" dt="2023-01-28T07:44:47.719" v="8135" actId="1076"/>
          <ac:spMkLst>
            <pc:docMk/>
            <pc:sldMk cId="1383993538" sldId="2134806327"/>
            <ac:spMk id="6" creationId="{E721F06D-2E71-B87C-8987-4D1944F7C1E9}"/>
          </ac:spMkLst>
        </pc:spChg>
        <pc:spChg chg="mod">
          <ac:chgData name="STEPANCHENKO, D. (Dmitrii)" userId="30c9d29d-ac41-46ff-b2be-c3f5dd1e26e1" providerId="ADAL" clId="{AECDBD64-E75C-4C05-9678-D3B35BDA44EC}" dt="2023-01-28T07:43:55.405" v="8083" actId="255"/>
          <ac:spMkLst>
            <pc:docMk/>
            <pc:sldMk cId="1383993538" sldId="2134806327"/>
            <ac:spMk id="8" creationId="{5DECFFF7-4DDD-4DFE-AF09-04E3986FCD1F}"/>
          </ac:spMkLst>
        </pc:spChg>
        <pc:spChg chg="mod">
          <ac:chgData name="STEPANCHENKO, D. (Dmitrii)" userId="30c9d29d-ac41-46ff-b2be-c3f5dd1e26e1" providerId="ADAL" clId="{AECDBD64-E75C-4C05-9678-D3B35BDA44EC}" dt="2023-01-28T07:44:59.838" v="8137" actId="1076"/>
          <ac:spMkLst>
            <pc:docMk/>
            <pc:sldMk cId="1383993538" sldId="2134806327"/>
            <ac:spMk id="10" creationId="{52B6EE28-6B94-4077-8B54-07A0416DBEFA}"/>
          </ac:spMkLst>
        </pc:spChg>
      </pc:sldChg>
      <pc:sldChg chg="addSp delSp modSp mod ord addCm delCm modCm">
        <pc:chgData name="STEPANCHENKO, D. (Dmitrii)" userId="30c9d29d-ac41-46ff-b2be-c3f5dd1e26e1" providerId="ADAL" clId="{AECDBD64-E75C-4C05-9678-D3B35BDA44EC}" dt="2023-01-26T15:05:33.217" v="8028"/>
        <pc:sldMkLst>
          <pc:docMk/>
          <pc:sldMk cId="3089211194" sldId="2134806330"/>
        </pc:sldMkLst>
        <pc:spChg chg="add del mod">
          <ac:chgData name="STEPANCHENKO, D. (Dmitrii)" userId="30c9d29d-ac41-46ff-b2be-c3f5dd1e26e1" providerId="ADAL" clId="{AECDBD64-E75C-4C05-9678-D3B35BDA44EC}" dt="2023-01-05T11:47:33.717" v="6"/>
          <ac:spMkLst>
            <pc:docMk/>
            <pc:sldMk cId="3089211194" sldId="2134806330"/>
            <ac:spMk id="3" creationId="{FE4508D7-C8CB-4272-9868-CEAD3509A5FD}"/>
          </ac:spMkLst>
        </pc:spChg>
        <pc:spChg chg="mod">
          <ac:chgData name="STEPANCHENKO, D. (Dmitrii)" userId="30c9d29d-ac41-46ff-b2be-c3f5dd1e26e1" providerId="ADAL" clId="{AECDBD64-E75C-4C05-9678-D3B35BDA44EC}" dt="2023-01-21T07:22:48.654" v="5459" actId="20577"/>
          <ac:spMkLst>
            <pc:docMk/>
            <pc:sldMk cId="3089211194" sldId="2134806330"/>
            <ac:spMk id="5" creationId="{81BD1123-3626-1C45-BF5B-1C1864FA8AFA}"/>
          </ac:spMkLst>
        </pc:spChg>
        <pc:spChg chg="add mod">
          <ac:chgData name="STEPANCHENKO, D. (Dmitrii)" userId="30c9d29d-ac41-46ff-b2be-c3f5dd1e26e1" providerId="ADAL" clId="{AECDBD64-E75C-4C05-9678-D3B35BDA44EC}" dt="2023-01-21T07:25:52.389" v="5476" actId="14100"/>
          <ac:spMkLst>
            <pc:docMk/>
            <pc:sldMk cId="3089211194" sldId="2134806330"/>
            <ac:spMk id="6" creationId="{418AC852-BC23-43D5-A644-537958D3AB4A}"/>
          </ac:spMkLst>
        </pc:spChg>
        <pc:spChg chg="add mod">
          <ac:chgData name="STEPANCHENKO, D. (Dmitrii)" userId="30c9d29d-ac41-46ff-b2be-c3f5dd1e26e1" providerId="ADAL" clId="{AECDBD64-E75C-4C05-9678-D3B35BDA44EC}" dt="2023-01-21T08:06:54.281" v="5673" actId="208"/>
          <ac:spMkLst>
            <pc:docMk/>
            <pc:sldMk cId="3089211194" sldId="2134806330"/>
            <ac:spMk id="7" creationId="{2184C339-8E0E-3CF6-ACB3-9F945C5C9988}"/>
          </ac:spMkLst>
        </pc:spChg>
        <pc:spChg chg="add mod">
          <ac:chgData name="STEPANCHENKO, D. (Dmitrii)" userId="30c9d29d-ac41-46ff-b2be-c3f5dd1e26e1" providerId="ADAL" clId="{AECDBD64-E75C-4C05-9678-D3B35BDA44EC}" dt="2023-01-21T08:06:54.281" v="5673" actId="208"/>
          <ac:spMkLst>
            <pc:docMk/>
            <pc:sldMk cId="3089211194" sldId="2134806330"/>
            <ac:spMk id="8" creationId="{A64B4CBB-BA5C-C423-0706-B95DAB191DBE}"/>
          </ac:spMkLst>
        </pc:spChg>
        <pc:spChg chg="add del">
          <ac:chgData name="STEPANCHENKO, D. (Dmitrii)" userId="30c9d29d-ac41-46ff-b2be-c3f5dd1e26e1" providerId="ADAL" clId="{AECDBD64-E75C-4C05-9678-D3B35BDA44EC}" dt="2023-01-20T13:18:37.877" v="5180" actId="478"/>
          <ac:spMkLst>
            <pc:docMk/>
            <pc:sldMk cId="3089211194" sldId="2134806330"/>
            <ac:spMk id="9" creationId="{42546F06-DAB0-869F-AC64-2EB1AD01F60E}"/>
          </ac:spMkLst>
        </pc:spChg>
        <pc:spChg chg="add mod">
          <ac:chgData name="STEPANCHENKO, D. (Dmitrii)" userId="30c9d29d-ac41-46ff-b2be-c3f5dd1e26e1" providerId="ADAL" clId="{AECDBD64-E75C-4C05-9678-D3B35BDA44EC}" dt="2023-01-20T13:40:43.127" v="5286" actId="208"/>
          <ac:spMkLst>
            <pc:docMk/>
            <pc:sldMk cId="3089211194" sldId="2134806330"/>
            <ac:spMk id="10" creationId="{2A24E869-DFD7-EF55-37B8-0ACABB304AA3}"/>
          </ac:spMkLst>
        </pc:spChg>
        <pc:spChg chg="add mod">
          <ac:chgData name="STEPANCHENKO, D. (Dmitrii)" userId="30c9d29d-ac41-46ff-b2be-c3f5dd1e26e1" providerId="ADAL" clId="{AECDBD64-E75C-4C05-9678-D3B35BDA44EC}" dt="2023-01-21T07:23:20.059" v="5466" actId="207"/>
          <ac:spMkLst>
            <pc:docMk/>
            <pc:sldMk cId="3089211194" sldId="2134806330"/>
            <ac:spMk id="12" creationId="{D46E8337-924E-5B0D-9B23-8942DAB4AE6B}"/>
          </ac:spMkLst>
        </pc:spChg>
        <pc:picChg chg="add mod">
          <ac:chgData name="STEPANCHENKO, D. (Dmitrii)" userId="30c9d29d-ac41-46ff-b2be-c3f5dd1e26e1" providerId="ADAL" clId="{AECDBD64-E75C-4C05-9678-D3B35BDA44EC}" dt="2023-01-21T07:25:49.148" v="5475" actId="14100"/>
          <ac:picMkLst>
            <pc:docMk/>
            <pc:sldMk cId="3089211194" sldId="2134806330"/>
            <ac:picMk id="4" creationId="{FD8AF38E-C4AC-4834-9B9D-26B215DB90B5}"/>
          </ac:picMkLst>
        </pc:picChg>
        <pc:picChg chg="add del mod">
          <ac:chgData name="STEPANCHENKO, D. (Dmitrii)" userId="30c9d29d-ac41-46ff-b2be-c3f5dd1e26e1" providerId="ADAL" clId="{AECDBD64-E75C-4C05-9678-D3B35BDA44EC}" dt="2023-01-06T09:55:51.931" v="352" actId="478"/>
          <ac:picMkLst>
            <pc:docMk/>
            <pc:sldMk cId="3089211194" sldId="2134806330"/>
            <ac:picMk id="8" creationId="{05365FBF-FA36-4639-89D9-36DDC32842B7}"/>
          </ac:picMkLst>
        </pc:picChg>
        <pc:picChg chg="add del mod">
          <ac:chgData name="STEPANCHENKO, D. (Dmitrii)" userId="30c9d29d-ac41-46ff-b2be-c3f5dd1e26e1" providerId="ADAL" clId="{AECDBD64-E75C-4C05-9678-D3B35BDA44EC}" dt="2023-01-21T07:34:35.756" v="5484" actId="14100"/>
          <ac:picMkLst>
            <pc:docMk/>
            <pc:sldMk cId="3089211194" sldId="2134806330"/>
            <ac:picMk id="14" creationId="{B866031C-6438-A916-5900-17452A04FC05}"/>
          </ac:picMkLst>
        </pc:picChg>
      </pc:sldChg>
      <pc:sldChg chg="modSp mod">
        <pc:chgData name="STEPANCHENKO, D. (Dmitrii)" userId="30c9d29d-ac41-46ff-b2be-c3f5dd1e26e1" providerId="ADAL" clId="{AECDBD64-E75C-4C05-9678-D3B35BDA44EC}" dt="2023-01-11T17:19:41.952" v="2864" actId="20577"/>
        <pc:sldMkLst>
          <pc:docMk/>
          <pc:sldMk cId="4127393553" sldId="2134806331"/>
        </pc:sldMkLst>
        <pc:spChg chg="mod">
          <ac:chgData name="STEPANCHENKO, D. (Dmitrii)" userId="30c9d29d-ac41-46ff-b2be-c3f5dd1e26e1" providerId="ADAL" clId="{AECDBD64-E75C-4C05-9678-D3B35BDA44EC}" dt="2023-01-11T17:19:41.952" v="2864" actId="20577"/>
          <ac:spMkLst>
            <pc:docMk/>
            <pc:sldMk cId="4127393553" sldId="2134806331"/>
            <ac:spMk id="7" creationId="{00000000-0000-0000-0000-000000000000}"/>
          </ac:spMkLst>
        </pc:spChg>
      </pc:sldChg>
      <pc:sldChg chg="addSp delSp modSp mod modAnim">
        <pc:chgData name="STEPANCHENKO, D. (Dmitrii)" userId="30c9d29d-ac41-46ff-b2be-c3f5dd1e26e1" providerId="ADAL" clId="{AECDBD64-E75C-4C05-9678-D3B35BDA44EC}" dt="2023-01-26T14:47:51.356" v="8020" actId="20577"/>
        <pc:sldMkLst>
          <pc:docMk/>
          <pc:sldMk cId="3444687285" sldId="2134806333"/>
        </pc:sldMkLst>
        <pc:spChg chg="mod">
          <ac:chgData name="STEPANCHENKO, D. (Dmitrii)" userId="30c9d29d-ac41-46ff-b2be-c3f5dd1e26e1" providerId="ADAL" clId="{AECDBD64-E75C-4C05-9678-D3B35BDA44EC}" dt="2023-01-26T14:47:51.356" v="8020" actId="20577"/>
          <ac:spMkLst>
            <pc:docMk/>
            <pc:sldMk cId="3444687285" sldId="2134806333"/>
            <ac:spMk id="5" creationId="{81BD1123-3626-1C45-BF5B-1C1864FA8AFA}"/>
          </ac:spMkLst>
        </pc:spChg>
        <pc:spChg chg="add mod">
          <ac:chgData name="STEPANCHENKO, D. (Dmitrii)" userId="30c9d29d-ac41-46ff-b2be-c3f5dd1e26e1" providerId="ADAL" clId="{AECDBD64-E75C-4C05-9678-D3B35BDA44EC}" dt="2023-01-06T11:56:55.609" v="1029"/>
          <ac:spMkLst>
            <pc:docMk/>
            <pc:sldMk cId="3444687285" sldId="2134806333"/>
            <ac:spMk id="7" creationId="{682B65D6-B803-4460-99AF-B677554DD998}"/>
          </ac:spMkLst>
        </pc:spChg>
        <pc:spChg chg="del">
          <ac:chgData name="STEPANCHENKO, D. (Dmitrii)" userId="30c9d29d-ac41-46ff-b2be-c3f5dd1e26e1" providerId="ADAL" clId="{AECDBD64-E75C-4C05-9678-D3B35BDA44EC}" dt="2023-01-06T11:56:50.581" v="1026" actId="478"/>
          <ac:spMkLst>
            <pc:docMk/>
            <pc:sldMk cId="3444687285" sldId="2134806333"/>
            <ac:spMk id="8" creationId="{5DECFFF7-4DDD-4DFE-AF09-04E3986FCD1F}"/>
          </ac:spMkLst>
        </pc:spChg>
        <pc:spChg chg="add mod">
          <ac:chgData name="STEPANCHENKO, D. (Dmitrii)" userId="30c9d29d-ac41-46ff-b2be-c3f5dd1e26e1" providerId="ADAL" clId="{AECDBD64-E75C-4C05-9678-D3B35BDA44EC}" dt="2023-01-06T12:09:01.639" v="1238" actId="1076"/>
          <ac:spMkLst>
            <pc:docMk/>
            <pc:sldMk cId="3444687285" sldId="2134806333"/>
            <ac:spMk id="9" creationId="{CD23FEE6-2745-44DB-94A1-F55B9A5050DE}"/>
          </ac:spMkLst>
        </pc:spChg>
        <pc:spChg chg="del">
          <ac:chgData name="STEPANCHENKO, D. (Dmitrii)" userId="30c9d29d-ac41-46ff-b2be-c3f5dd1e26e1" providerId="ADAL" clId="{AECDBD64-E75C-4C05-9678-D3B35BDA44EC}" dt="2023-01-06T11:57:18.636" v="1032" actId="478"/>
          <ac:spMkLst>
            <pc:docMk/>
            <pc:sldMk cId="3444687285" sldId="2134806333"/>
            <ac:spMk id="10" creationId="{52B6EE28-6B94-4077-8B54-07A0416DBEFA}"/>
          </ac:spMkLst>
        </pc:spChg>
        <pc:spChg chg="add mod">
          <ac:chgData name="STEPANCHENKO, D. (Dmitrii)" userId="30c9d29d-ac41-46ff-b2be-c3f5dd1e26e1" providerId="ADAL" clId="{AECDBD64-E75C-4C05-9678-D3B35BDA44EC}" dt="2023-01-06T12:01:34.363" v="1127" actId="21"/>
          <ac:spMkLst>
            <pc:docMk/>
            <pc:sldMk cId="3444687285" sldId="2134806333"/>
            <ac:spMk id="12" creationId="{A833CA0B-9813-40A3-9F29-B963474ED863}"/>
          </ac:spMkLst>
        </pc:spChg>
        <pc:spChg chg="add mod">
          <ac:chgData name="STEPANCHENKO, D. (Dmitrii)" userId="30c9d29d-ac41-46ff-b2be-c3f5dd1e26e1" providerId="ADAL" clId="{AECDBD64-E75C-4C05-9678-D3B35BDA44EC}" dt="2023-01-06T12:54:01.520" v="1275" actId="1076"/>
          <ac:spMkLst>
            <pc:docMk/>
            <pc:sldMk cId="3444687285" sldId="2134806333"/>
            <ac:spMk id="13" creationId="{C59E1761-1832-4C8A-AEEC-6EBF698037A1}"/>
          </ac:spMkLst>
        </pc:spChg>
        <pc:spChg chg="add mod">
          <ac:chgData name="STEPANCHENKO, D. (Dmitrii)" userId="30c9d29d-ac41-46ff-b2be-c3f5dd1e26e1" providerId="ADAL" clId="{AECDBD64-E75C-4C05-9678-D3B35BDA44EC}" dt="2023-01-06T12:09:19.365" v="1244" actId="1076"/>
          <ac:spMkLst>
            <pc:docMk/>
            <pc:sldMk cId="3444687285" sldId="2134806333"/>
            <ac:spMk id="14" creationId="{C7E652B8-53DD-44D4-A5D5-4417DA75FDF5}"/>
          </ac:spMkLst>
        </pc:spChg>
        <pc:spChg chg="add mod">
          <ac:chgData name="STEPANCHENKO, D. (Dmitrii)" userId="30c9d29d-ac41-46ff-b2be-c3f5dd1e26e1" providerId="ADAL" clId="{AECDBD64-E75C-4C05-9678-D3B35BDA44EC}" dt="2023-01-06T12:07:17.334" v="1211" actId="20577"/>
          <ac:spMkLst>
            <pc:docMk/>
            <pc:sldMk cId="3444687285" sldId="2134806333"/>
            <ac:spMk id="15" creationId="{BF8120B5-F542-4E72-B133-D0DAA8717013}"/>
          </ac:spMkLst>
        </pc:spChg>
        <pc:spChg chg="add del mod">
          <ac:chgData name="STEPANCHENKO, D. (Dmitrii)" userId="30c9d29d-ac41-46ff-b2be-c3f5dd1e26e1" providerId="ADAL" clId="{AECDBD64-E75C-4C05-9678-D3B35BDA44EC}" dt="2023-01-06T12:06:05.922" v="1170" actId="478"/>
          <ac:spMkLst>
            <pc:docMk/>
            <pc:sldMk cId="3444687285" sldId="2134806333"/>
            <ac:spMk id="17" creationId="{7922EFD8-753D-4EB1-B87E-0ECA88DB563B}"/>
          </ac:spMkLst>
        </pc:spChg>
        <pc:spChg chg="add mod">
          <ac:chgData name="STEPANCHENKO, D. (Dmitrii)" userId="30c9d29d-ac41-46ff-b2be-c3f5dd1e26e1" providerId="ADAL" clId="{AECDBD64-E75C-4C05-9678-D3B35BDA44EC}" dt="2023-01-06T12:09:37.577" v="1247" actId="14100"/>
          <ac:spMkLst>
            <pc:docMk/>
            <pc:sldMk cId="3444687285" sldId="2134806333"/>
            <ac:spMk id="18" creationId="{B8EC990D-37EF-4A1F-ACC2-10B1FA1A531F}"/>
          </ac:spMkLst>
        </pc:spChg>
        <pc:graphicFrameChg chg="add del mod modGraphic">
          <ac:chgData name="STEPANCHENKO, D. (Dmitrii)" userId="30c9d29d-ac41-46ff-b2be-c3f5dd1e26e1" providerId="ADAL" clId="{AECDBD64-E75C-4C05-9678-D3B35BDA44EC}" dt="2023-01-06T12:01:05.116" v="1103" actId="478"/>
          <ac:graphicFrameMkLst>
            <pc:docMk/>
            <pc:sldMk cId="3444687285" sldId="2134806333"/>
            <ac:graphicFrameMk id="4" creationId="{8D5EFD4F-7DE3-440E-8D43-3CD927E33C72}"/>
          </ac:graphicFrameMkLst>
        </pc:graphicFrameChg>
        <pc:graphicFrameChg chg="add mod">
          <ac:chgData name="STEPANCHENKO, D. (Dmitrii)" userId="30c9d29d-ac41-46ff-b2be-c3f5dd1e26e1" providerId="ADAL" clId="{AECDBD64-E75C-4C05-9678-D3B35BDA44EC}" dt="2023-01-06T12:06:19.985" v="1185" actId="1036"/>
          <ac:graphicFrameMkLst>
            <pc:docMk/>
            <pc:sldMk cId="3444687285" sldId="2134806333"/>
            <ac:graphicFrameMk id="6" creationId="{D9A72080-4A4A-266D-A135-ECD5E1BFB692}"/>
          </ac:graphicFrameMkLst>
        </pc:graphicFrameChg>
        <pc:graphicFrameChg chg="add mod">
          <ac:chgData name="STEPANCHENKO, D. (Dmitrii)" userId="30c9d29d-ac41-46ff-b2be-c3f5dd1e26e1" providerId="ADAL" clId="{AECDBD64-E75C-4C05-9678-D3B35BDA44EC}" dt="2023-01-17T13:16:39.367" v="4773" actId="1076"/>
          <ac:graphicFrameMkLst>
            <pc:docMk/>
            <pc:sldMk cId="3444687285" sldId="2134806333"/>
            <ac:graphicFrameMk id="19" creationId="{AA77DF82-B2FB-4D0B-8779-BCEA943C88B2}"/>
          </ac:graphicFrameMkLst>
        </pc:graphicFrameChg>
        <pc:picChg chg="add mod">
          <ac:chgData name="STEPANCHENKO, D. (Dmitrii)" userId="30c9d29d-ac41-46ff-b2be-c3f5dd1e26e1" providerId="ADAL" clId="{AECDBD64-E75C-4C05-9678-D3B35BDA44EC}" dt="2023-01-06T12:54:12.981" v="1279" actId="14100"/>
          <ac:picMkLst>
            <pc:docMk/>
            <pc:sldMk cId="3444687285" sldId="2134806333"/>
            <ac:picMk id="20" creationId="{9D55DA0E-76E7-4354-9CE5-36B7E462E1CC}"/>
          </ac:picMkLst>
        </pc:picChg>
      </pc:sldChg>
      <pc:sldChg chg="modSp mod">
        <pc:chgData name="STEPANCHENKO, D. (Dmitrii)" userId="30c9d29d-ac41-46ff-b2be-c3f5dd1e26e1" providerId="ADAL" clId="{AECDBD64-E75C-4C05-9678-D3B35BDA44EC}" dt="2023-01-26T14:43:30.003" v="8002" actId="20577"/>
        <pc:sldMkLst>
          <pc:docMk/>
          <pc:sldMk cId="3608721573" sldId="2134806334"/>
        </pc:sldMkLst>
        <pc:spChg chg="mod">
          <ac:chgData name="STEPANCHENKO, D. (Dmitrii)" userId="30c9d29d-ac41-46ff-b2be-c3f5dd1e26e1" providerId="ADAL" clId="{AECDBD64-E75C-4C05-9678-D3B35BDA44EC}" dt="2023-01-26T14:43:30.003" v="8002" actId="20577"/>
          <ac:spMkLst>
            <pc:docMk/>
            <pc:sldMk cId="3608721573" sldId="2134806334"/>
            <ac:spMk id="5" creationId="{81BD1123-3626-1C45-BF5B-1C1864FA8AFA}"/>
          </ac:spMkLst>
        </pc:spChg>
        <pc:spChg chg="mod">
          <ac:chgData name="STEPANCHENKO, D. (Dmitrii)" userId="30c9d29d-ac41-46ff-b2be-c3f5dd1e26e1" providerId="ADAL" clId="{AECDBD64-E75C-4C05-9678-D3B35BDA44EC}" dt="2023-01-26T14:42:30.672" v="7972" actId="20577"/>
          <ac:spMkLst>
            <pc:docMk/>
            <pc:sldMk cId="3608721573" sldId="2134806334"/>
            <ac:spMk id="12" creationId="{0752E6A3-4425-48A0-9570-33BE5F54B45C}"/>
          </ac:spMkLst>
        </pc:spChg>
        <pc:spChg chg="mod">
          <ac:chgData name="STEPANCHENKO, D. (Dmitrii)" userId="30c9d29d-ac41-46ff-b2be-c3f5dd1e26e1" providerId="ADAL" clId="{AECDBD64-E75C-4C05-9678-D3B35BDA44EC}" dt="2023-01-26T14:43:09.089" v="7977" actId="20577"/>
          <ac:spMkLst>
            <pc:docMk/>
            <pc:sldMk cId="3608721573" sldId="2134806334"/>
            <ac:spMk id="14" creationId="{8774A0F6-E177-49B2-90C1-41ECDC52A906}"/>
          </ac:spMkLst>
        </pc:spChg>
      </pc:sldChg>
      <pc:sldChg chg="modSp mod">
        <pc:chgData name="STEPANCHENKO, D. (Dmitrii)" userId="30c9d29d-ac41-46ff-b2be-c3f5dd1e26e1" providerId="ADAL" clId="{AECDBD64-E75C-4C05-9678-D3B35BDA44EC}" dt="2023-01-26T14:47:40.263" v="8016" actId="2164"/>
        <pc:sldMkLst>
          <pc:docMk/>
          <pc:sldMk cId="3429197109" sldId="2134806335"/>
        </pc:sldMkLst>
        <pc:graphicFrameChg chg="mod modGraphic">
          <ac:chgData name="STEPANCHENKO, D. (Dmitrii)" userId="30c9d29d-ac41-46ff-b2be-c3f5dd1e26e1" providerId="ADAL" clId="{AECDBD64-E75C-4C05-9678-D3B35BDA44EC}" dt="2023-01-26T14:47:40.263" v="8016" actId="2164"/>
          <ac:graphicFrameMkLst>
            <pc:docMk/>
            <pc:sldMk cId="3429197109" sldId="2134806335"/>
            <ac:graphicFrameMk id="3" creationId="{3FB1392B-9DAC-40D6-AF12-16AF88B26518}"/>
          </ac:graphicFrameMkLst>
        </pc:graphicFrameChg>
      </pc:sldChg>
      <pc:sldChg chg="addSp delSp modSp mod ord modAnim">
        <pc:chgData name="STEPANCHENKO, D. (Dmitrii)" userId="30c9d29d-ac41-46ff-b2be-c3f5dd1e26e1" providerId="ADAL" clId="{AECDBD64-E75C-4C05-9678-D3B35BDA44EC}" dt="2023-01-26T14:48:26.077" v="8027" actId="20577"/>
        <pc:sldMkLst>
          <pc:docMk/>
          <pc:sldMk cId="1608794076" sldId="2134806336"/>
        </pc:sldMkLst>
        <pc:spChg chg="add mod">
          <ac:chgData name="STEPANCHENKO, D. (Dmitrii)" userId="30c9d29d-ac41-46ff-b2be-c3f5dd1e26e1" providerId="ADAL" clId="{AECDBD64-E75C-4C05-9678-D3B35BDA44EC}" dt="2023-01-26T14:48:26.077" v="8027" actId="20577"/>
          <ac:spMkLst>
            <pc:docMk/>
            <pc:sldMk cId="1608794076" sldId="2134806336"/>
            <ac:spMk id="4" creationId="{5B3042FF-B4B3-4086-A2CA-C21FEA2674C1}"/>
          </ac:spMkLst>
        </pc:spChg>
        <pc:spChg chg="mod">
          <ac:chgData name="STEPANCHENKO, D. (Dmitrii)" userId="30c9d29d-ac41-46ff-b2be-c3f5dd1e26e1" providerId="ADAL" clId="{AECDBD64-E75C-4C05-9678-D3B35BDA44EC}" dt="2023-01-26T14:47:44.138" v="8018" actId="20577"/>
          <ac:spMkLst>
            <pc:docMk/>
            <pc:sldMk cId="1608794076" sldId="2134806336"/>
            <ac:spMk id="5" creationId="{81BD1123-3626-1C45-BF5B-1C1864FA8AFA}"/>
          </ac:spMkLst>
        </pc:spChg>
        <pc:spChg chg="del">
          <ac:chgData name="STEPANCHENKO, D. (Dmitrii)" userId="30c9d29d-ac41-46ff-b2be-c3f5dd1e26e1" providerId="ADAL" clId="{AECDBD64-E75C-4C05-9678-D3B35BDA44EC}" dt="2023-01-06T11:40:04.417" v="355" actId="478"/>
          <ac:spMkLst>
            <pc:docMk/>
            <pc:sldMk cId="1608794076" sldId="2134806336"/>
            <ac:spMk id="10" creationId="{52B6EE28-6B94-4077-8B54-07A0416DBEFA}"/>
          </ac:spMkLst>
        </pc:spChg>
        <pc:graphicFrameChg chg="del">
          <ac:chgData name="STEPANCHENKO, D. (Dmitrii)" userId="30c9d29d-ac41-46ff-b2be-c3f5dd1e26e1" providerId="ADAL" clId="{AECDBD64-E75C-4C05-9678-D3B35BDA44EC}" dt="2023-01-06T11:40:08.592" v="356" actId="478"/>
          <ac:graphicFrameMkLst>
            <pc:docMk/>
            <pc:sldMk cId="1608794076" sldId="2134806336"/>
            <ac:graphicFrameMk id="3" creationId="{14F17274-164C-418B-B125-D92ACA77A98E}"/>
          </ac:graphicFrameMkLst>
        </pc:graphicFrameChg>
        <pc:picChg chg="add mod">
          <ac:chgData name="STEPANCHENKO, D. (Dmitrii)" userId="30c9d29d-ac41-46ff-b2be-c3f5dd1e26e1" providerId="ADAL" clId="{AECDBD64-E75C-4C05-9678-D3B35BDA44EC}" dt="2023-01-26T13:30:10.341" v="7317" actId="1036"/>
          <ac:picMkLst>
            <pc:docMk/>
            <pc:sldMk cId="1608794076" sldId="2134806336"/>
            <ac:picMk id="8" creationId="{0FFAACA2-8C69-4ADF-A6B9-2B8050074E2D}"/>
          </ac:picMkLst>
        </pc:picChg>
      </pc:sldChg>
      <pc:sldChg chg="addSp modSp mod modShow">
        <pc:chgData name="STEPANCHENKO, D. (Dmitrii)" userId="30c9d29d-ac41-46ff-b2be-c3f5dd1e26e1" providerId="ADAL" clId="{AECDBD64-E75C-4C05-9678-D3B35BDA44EC}" dt="2023-01-21T08:06:31.808" v="5668" actId="208"/>
        <pc:sldMkLst>
          <pc:docMk/>
          <pc:sldMk cId="3231236423" sldId="2134806337"/>
        </pc:sldMkLst>
        <pc:spChg chg="add mod">
          <ac:chgData name="STEPANCHENKO, D. (Dmitrii)" userId="30c9d29d-ac41-46ff-b2be-c3f5dd1e26e1" providerId="ADAL" clId="{AECDBD64-E75C-4C05-9678-D3B35BDA44EC}" dt="2023-01-21T08:06:31.808" v="5668" actId="208"/>
          <ac:spMkLst>
            <pc:docMk/>
            <pc:sldMk cId="3231236423" sldId="2134806337"/>
            <ac:spMk id="3" creationId="{D7219301-277D-B3F2-7128-4031D234B954}"/>
          </ac:spMkLst>
        </pc:spChg>
        <pc:spChg chg="add mod">
          <ac:chgData name="STEPANCHENKO, D. (Dmitrii)" userId="30c9d29d-ac41-46ff-b2be-c3f5dd1e26e1" providerId="ADAL" clId="{AECDBD64-E75C-4C05-9678-D3B35BDA44EC}" dt="2023-01-21T08:06:31.808" v="5668" actId="208"/>
          <ac:spMkLst>
            <pc:docMk/>
            <pc:sldMk cId="3231236423" sldId="2134806337"/>
            <ac:spMk id="6" creationId="{D1C09931-A17D-23DD-3C19-05884C2FDE21}"/>
          </ac:spMkLst>
        </pc:spChg>
        <pc:spChg chg="mod">
          <ac:chgData name="STEPANCHENKO, D. (Dmitrii)" userId="30c9d29d-ac41-46ff-b2be-c3f5dd1e26e1" providerId="ADAL" clId="{AECDBD64-E75C-4C05-9678-D3B35BDA44EC}" dt="2023-01-21T08:06:31.808" v="5668" actId="208"/>
          <ac:spMkLst>
            <pc:docMk/>
            <pc:sldMk cId="3231236423" sldId="2134806337"/>
            <ac:spMk id="15" creationId="{AEDD12B7-EF75-4635-9E48-3DA9BFBD6BB8}"/>
          </ac:spMkLst>
        </pc:spChg>
        <pc:picChg chg="mod">
          <ac:chgData name="STEPANCHENKO, D. (Dmitrii)" userId="30c9d29d-ac41-46ff-b2be-c3f5dd1e26e1" providerId="ADAL" clId="{AECDBD64-E75C-4C05-9678-D3B35BDA44EC}" dt="2023-01-21T08:06:05.559" v="5657" actId="1037"/>
          <ac:picMkLst>
            <pc:docMk/>
            <pc:sldMk cId="3231236423" sldId="2134806337"/>
            <ac:picMk id="4" creationId="{39109EAB-2ACB-4AC2-AA98-9595D9FA2C8D}"/>
          </ac:picMkLst>
        </pc:picChg>
        <pc:picChg chg="mod">
          <ac:chgData name="STEPANCHENKO, D. (Dmitrii)" userId="30c9d29d-ac41-46ff-b2be-c3f5dd1e26e1" providerId="ADAL" clId="{AECDBD64-E75C-4C05-9678-D3B35BDA44EC}" dt="2023-01-21T08:06:19.342" v="5666" actId="1036"/>
          <ac:picMkLst>
            <pc:docMk/>
            <pc:sldMk cId="3231236423" sldId="2134806337"/>
            <ac:picMk id="10" creationId="{CC7C69E1-721E-4E62-ABFA-548AF492420D}"/>
          </ac:picMkLst>
        </pc:picChg>
      </pc:sldChg>
      <pc:sldChg chg="mod modShow">
        <pc:chgData name="STEPANCHENKO, D. (Dmitrii)" userId="30c9d29d-ac41-46ff-b2be-c3f5dd1e26e1" providerId="ADAL" clId="{AECDBD64-E75C-4C05-9678-D3B35BDA44EC}" dt="2023-01-28T07:48:47.070" v="8138" actId="729"/>
        <pc:sldMkLst>
          <pc:docMk/>
          <pc:sldMk cId="319979765" sldId="2134806345"/>
        </pc:sldMkLst>
      </pc:sldChg>
      <pc:sldChg chg="mod modShow">
        <pc:chgData name="STEPANCHENKO, D. (Dmitrii)" userId="30c9d29d-ac41-46ff-b2be-c3f5dd1e26e1" providerId="ADAL" clId="{AECDBD64-E75C-4C05-9678-D3B35BDA44EC}" dt="2023-01-28T07:48:47.070" v="8138" actId="729"/>
        <pc:sldMkLst>
          <pc:docMk/>
          <pc:sldMk cId="1623928624" sldId="2134806346"/>
        </pc:sldMkLst>
      </pc:sldChg>
      <pc:sldChg chg="modSp mod">
        <pc:chgData name="STEPANCHENKO, D. (Dmitrii)" userId="30c9d29d-ac41-46ff-b2be-c3f5dd1e26e1" providerId="ADAL" clId="{AECDBD64-E75C-4C05-9678-D3B35BDA44EC}" dt="2023-01-26T14:46:49.740" v="8010" actId="20577"/>
        <pc:sldMkLst>
          <pc:docMk/>
          <pc:sldMk cId="3121307498" sldId="2134806348"/>
        </pc:sldMkLst>
        <pc:graphicFrameChg chg="modGraphic">
          <ac:chgData name="STEPANCHENKO, D. (Dmitrii)" userId="30c9d29d-ac41-46ff-b2be-c3f5dd1e26e1" providerId="ADAL" clId="{AECDBD64-E75C-4C05-9678-D3B35BDA44EC}" dt="2023-01-26T14:46:49.740" v="8010" actId="20577"/>
          <ac:graphicFrameMkLst>
            <pc:docMk/>
            <pc:sldMk cId="3121307498" sldId="2134806348"/>
            <ac:graphicFrameMk id="7" creationId="{6FF43420-5F97-4112-B0D3-FE928926660A}"/>
          </ac:graphicFrameMkLst>
        </pc:graphicFrameChg>
      </pc:sldChg>
      <pc:sldChg chg="addSp delSp modSp mod ord modShow">
        <pc:chgData name="STEPANCHENKO, D. (Dmitrii)" userId="30c9d29d-ac41-46ff-b2be-c3f5dd1e26e1" providerId="ADAL" clId="{AECDBD64-E75C-4C05-9678-D3B35BDA44EC}" dt="2023-01-28T09:22:12.054" v="8181" actId="729"/>
        <pc:sldMkLst>
          <pc:docMk/>
          <pc:sldMk cId="360950131" sldId="2134806349"/>
        </pc:sldMkLst>
        <pc:spChg chg="mod">
          <ac:chgData name="STEPANCHENKO, D. (Dmitrii)" userId="30c9d29d-ac41-46ff-b2be-c3f5dd1e26e1" providerId="ADAL" clId="{AECDBD64-E75C-4C05-9678-D3B35BDA44EC}" dt="2023-01-26T14:23:29.447" v="7783"/>
          <ac:spMkLst>
            <pc:docMk/>
            <pc:sldMk cId="360950131" sldId="2134806349"/>
            <ac:spMk id="3" creationId="{883B87B3-D1D2-4A3B-97F2-6F7840DB0C96}"/>
          </ac:spMkLst>
        </pc:spChg>
        <pc:spChg chg="add mod">
          <ac:chgData name="STEPANCHENKO, D. (Dmitrii)" userId="30c9d29d-ac41-46ff-b2be-c3f5dd1e26e1" providerId="ADAL" clId="{AECDBD64-E75C-4C05-9678-D3B35BDA44EC}" dt="2023-01-26T13:57:50.913" v="7635" actId="1038"/>
          <ac:spMkLst>
            <pc:docMk/>
            <pc:sldMk cId="360950131" sldId="2134806349"/>
            <ac:spMk id="4" creationId="{BAC0D61B-4BC8-4294-82E3-A96FB6065829}"/>
          </ac:spMkLst>
        </pc:spChg>
        <pc:spChg chg="mod">
          <ac:chgData name="STEPANCHENKO, D. (Dmitrii)" userId="30c9d29d-ac41-46ff-b2be-c3f5dd1e26e1" providerId="ADAL" clId="{AECDBD64-E75C-4C05-9678-D3B35BDA44EC}" dt="2023-01-17T12:53:54.050" v="4514" actId="20577"/>
          <ac:spMkLst>
            <pc:docMk/>
            <pc:sldMk cId="360950131" sldId="2134806349"/>
            <ac:spMk id="7" creationId="{9553823D-25F9-4338-8CFF-88676D4B8CD0}"/>
          </ac:spMkLst>
        </pc:spChg>
        <pc:spChg chg="mod">
          <ac:chgData name="STEPANCHENKO, D. (Dmitrii)" userId="30c9d29d-ac41-46ff-b2be-c3f5dd1e26e1" providerId="ADAL" clId="{AECDBD64-E75C-4C05-9678-D3B35BDA44EC}" dt="2023-01-17T12:54:11.263" v="4519" actId="1038"/>
          <ac:spMkLst>
            <pc:docMk/>
            <pc:sldMk cId="360950131" sldId="2134806349"/>
            <ac:spMk id="9" creationId="{F862E89A-04D9-42DC-8E11-7E5508016823}"/>
          </ac:spMkLst>
        </pc:spChg>
        <pc:spChg chg="mod">
          <ac:chgData name="STEPANCHENKO, D. (Dmitrii)" userId="30c9d29d-ac41-46ff-b2be-c3f5dd1e26e1" providerId="ADAL" clId="{AECDBD64-E75C-4C05-9678-D3B35BDA44EC}" dt="2023-01-17T12:54:15.777" v="4531" actId="20577"/>
          <ac:spMkLst>
            <pc:docMk/>
            <pc:sldMk cId="360950131" sldId="2134806349"/>
            <ac:spMk id="11" creationId="{75116657-C492-4787-B89F-2E382C74A770}"/>
          </ac:spMkLst>
        </pc:spChg>
        <pc:spChg chg="add del mod">
          <ac:chgData name="STEPANCHENKO, D. (Dmitrii)" userId="30c9d29d-ac41-46ff-b2be-c3f5dd1e26e1" providerId="ADAL" clId="{AECDBD64-E75C-4C05-9678-D3B35BDA44EC}" dt="2023-01-26T13:57:16.763" v="7624" actId="478"/>
          <ac:spMkLst>
            <pc:docMk/>
            <pc:sldMk cId="360950131" sldId="2134806349"/>
            <ac:spMk id="12" creationId="{B64DCBD3-19A5-ABD9-35A8-193F572CDE11}"/>
          </ac:spMkLst>
        </pc:spChg>
        <pc:spChg chg="del mod">
          <ac:chgData name="STEPANCHENKO, D. (Dmitrii)" userId="30c9d29d-ac41-46ff-b2be-c3f5dd1e26e1" providerId="ADAL" clId="{AECDBD64-E75C-4C05-9678-D3B35BDA44EC}" dt="2023-01-26T14:09:48.064" v="7669" actId="478"/>
          <ac:spMkLst>
            <pc:docMk/>
            <pc:sldMk cId="360950131" sldId="2134806349"/>
            <ac:spMk id="13" creationId="{C3176AA9-79B2-4078-AB48-06CE14816A48}"/>
          </ac:spMkLst>
        </pc:spChg>
        <pc:spChg chg="del">
          <ac:chgData name="STEPANCHENKO, D. (Dmitrii)" userId="30c9d29d-ac41-46ff-b2be-c3f5dd1e26e1" providerId="ADAL" clId="{AECDBD64-E75C-4C05-9678-D3B35BDA44EC}" dt="2023-01-26T14:09:48.064" v="7669" actId="478"/>
          <ac:spMkLst>
            <pc:docMk/>
            <pc:sldMk cId="360950131" sldId="2134806349"/>
            <ac:spMk id="14" creationId="{259EA7A0-89DC-4662-ADF7-A34222303E96}"/>
          </ac:spMkLst>
        </pc:spChg>
        <pc:spChg chg="mod">
          <ac:chgData name="STEPANCHENKO, D. (Dmitrii)" userId="30c9d29d-ac41-46ff-b2be-c3f5dd1e26e1" providerId="ADAL" clId="{AECDBD64-E75C-4C05-9678-D3B35BDA44EC}" dt="2023-01-26T14:09:15.209" v="7645" actId="14100"/>
          <ac:spMkLst>
            <pc:docMk/>
            <pc:sldMk cId="360950131" sldId="2134806349"/>
            <ac:spMk id="15" creationId="{E6217700-48BD-4F57-ABEE-041604653B78}"/>
          </ac:spMkLst>
        </pc:spChg>
        <pc:spChg chg="add mod">
          <ac:chgData name="STEPANCHENKO, D. (Dmitrii)" userId="30c9d29d-ac41-46ff-b2be-c3f5dd1e26e1" providerId="ADAL" clId="{AECDBD64-E75C-4C05-9678-D3B35BDA44EC}" dt="2023-01-26T14:09:43.311" v="7668" actId="14100"/>
          <ac:spMkLst>
            <pc:docMk/>
            <pc:sldMk cId="360950131" sldId="2134806349"/>
            <ac:spMk id="16" creationId="{A8BB7EEB-F8AC-E32E-569B-7EC437158519}"/>
          </ac:spMkLst>
        </pc:spChg>
        <pc:spChg chg="mod">
          <ac:chgData name="STEPANCHENKO, D. (Dmitrii)" userId="30c9d29d-ac41-46ff-b2be-c3f5dd1e26e1" providerId="ADAL" clId="{AECDBD64-E75C-4C05-9678-D3B35BDA44EC}" dt="2023-01-26T14:09:39.466" v="7667" actId="1038"/>
          <ac:spMkLst>
            <pc:docMk/>
            <pc:sldMk cId="360950131" sldId="2134806349"/>
            <ac:spMk id="23" creationId="{5DED1613-F425-403B-900C-6746670A4E2E}"/>
          </ac:spMkLst>
        </pc:spChg>
        <pc:spChg chg="del mod">
          <ac:chgData name="STEPANCHENKO, D. (Dmitrii)" userId="30c9d29d-ac41-46ff-b2be-c3f5dd1e26e1" providerId="ADAL" clId="{AECDBD64-E75C-4C05-9678-D3B35BDA44EC}" dt="2023-01-17T12:58:38.544" v="4624" actId="478"/>
          <ac:spMkLst>
            <pc:docMk/>
            <pc:sldMk cId="360950131" sldId="2134806349"/>
            <ac:spMk id="24" creationId="{C56E59CD-596D-4481-96B1-A5922026B5E6}"/>
          </ac:spMkLst>
        </pc:spChg>
        <pc:spChg chg="mod">
          <ac:chgData name="STEPANCHENKO, D. (Dmitrii)" userId="30c9d29d-ac41-46ff-b2be-c3f5dd1e26e1" providerId="ADAL" clId="{AECDBD64-E75C-4C05-9678-D3B35BDA44EC}" dt="2023-01-26T13:56:23.100" v="7609" actId="20577"/>
          <ac:spMkLst>
            <pc:docMk/>
            <pc:sldMk cId="360950131" sldId="2134806349"/>
            <ac:spMk id="25" creationId="{3791451D-F1FF-4866-BEE7-76DB3C40E6CC}"/>
          </ac:spMkLst>
        </pc:spChg>
        <pc:cxnChg chg="add mod">
          <ac:chgData name="STEPANCHENKO, D. (Dmitrii)" userId="30c9d29d-ac41-46ff-b2be-c3f5dd1e26e1" providerId="ADAL" clId="{AECDBD64-E75C-4C05-9678-D3B35BDA44EC}" dt="2023-01-26T13:56:34.835" v="7610" actId="14100"/>
          <ac:cxnSpMkLst>
            <pc:docMk/>
            <pc:sldMk cId="360950131" sldId="2134806349"/>
            <ac:cxnSpMk id="8" creationId="{50A4123E-541B-474D-9568-5BE95CF43030}"/>
          </ac:cxnSpMkLst>
        </pc:cxnChg>
        <pc:cxnChg chg="mod">
          <ac:chgData name="STEPANCHENKO, D. (Dmitrii)" userId="30c9d29d-ac41-46ff-b2be-c3f5dd1e26e1" providerId="ADAL" clId="{AECDBD64-E75C-4C05-9678-D3B35BDA44EC}" dt="2023-01-26T14:09:15.209" v="7645" actId="14100"/>
          <ac:cxnSpMkLst>
            <pc:docMk/>
            <pc:sldMk cId="360950131" sldId="2134806349"/>
            <ac:cxnSpMk id="17" creationId="{3EE0A07F-DE4D-4BE0-AC12-E01AFA9531B8}"/>
          </ac:cxnSpMkLst>
        </pc:cxnChg>
        <pc:cxnChg chg="add del mod">
          <ac:chgData name="STEPANCHENKO, D. (Dmitrii)" userId="30c9d29d-ac41-46ff-b2be-c3f5dd1e26e1" providerId="ADAL" clId="{AECDBD64-E75C-4C05-9678-D3B35BDA44EC}" dt="2023-01-26T13:57:18.828" v="7625" actId="478"/>
          <ac:cxnSpMkLst>
            <pc:docMk/>
            <pc:sldMk cId="360950131" sldId="2134806349"/>
            <ac:cxnSpMk id="18" creationId="{A8984EF4-3E3A-59DB-F150-36DCF82A6E24}"/>
          </ac:cxnSpMkLst>
        </pc:cxnChg>
      </pc:sldChg>
      <pc:sldChg chg="addSp delSp modSp add mod delAnim">
        <pc:chgData name="STEPANCHENKO, D. (Dmitrii)" userId="30c9d29d-ac41-46ff-b2be-c3f5dd1e26e1" providerId="ADAL" clId="{AECDBD64-E75C-4C05-9678-D3B35BDA44EC}" dt="2023-01-11T18:04:40.555" v="3890" actId="207"/>
        <pc:sldMkLst>
          <pc:docMk/>
          <pc:sldMk cId="2759589870" sldId="2134806350"/>
        </pc:sldMkLst>
        <pc:spChg chg="mod">
          <ac:chgData name="STEPANCHENKO, D. (Dmitrii)" userId="30c9d29d-ac41-46ff-b2be-c3f5dd1e26e1" providerId="ADAL" clId="{AECDBD64-E75C-4C05-9678-D3B35BDA44EC}" dt="2023-01-10T17:42:46.304" v="1860" actId="207"/>
          <ac:spMkLst>
            <pc:docMk/>
            <pc:sldMk cId="2759589870" sldId="2134806350"/>
            <ac:spMk id="2" creationId="{00000000-0000-0000-0000-000000000000}"/>
          </ac:spMkLst>
        </pc:spChg>
        <pc:spChg chg="del mod">
          <ac:chgData name="STEPANCHENKO, D. (Dmitrii)" userId="30c9d29d-ac41-46ff-b2be-c3f5dd1e26e1" providerId="ADAL" clId="{AECDBD64-E75C-4C05-9678-D3B35BDA44EC}" dt="2023-01-10T17:35:41.419" v="1334" actId="478"/>
          <ac:spMkLst>
            <pc:docMk/>
            <pc:sldMk cId="2759589870" sldId="2134806350"/>
            <ac:spMk id="4" creationId="{5B3042FF-B4B3-4086-A2CA-C21FEA2674C1}"/>
          </ac:spMkLst>
        </pc:spChg>
        <pc:spChg chg="mod">
          <ac:chgData name="STEPANCHENKO, D. (Dmitrii)" userId="30c9d29d-ac41-46ff-b2be-c3f5dd1e26e1" providerId="ADAL" clId="{AECDBD64-E75C-4C05-9678-D3B35BDA44EC}" dt="2023-01-11T17:06:34.402" v="2606" actId="20577"/>
          <ac:spMkLst>
            <pc:docMk/>
            <pc:sldMk cId="2759589870" sldId="2134806350"/>
            <ac:spMk id="5" creationId="{81BD1123-3626-1C45-BF5B-1C1864FA8AFA}"/>
          </ac:spMkLst>
        </pc:spChg>
        <pc:spChg chg="del">
          <ac:chgData name="STEPANCHENKO, D. (Dmitrii)" userId="30c9d29d-ac41-46ff-b2be-c3f5dd1e26e1" providerId="ADAL" clId="{AECDBD64-E75C-4C05-9678-D3B35BDA44EC}" dt="2023-01-10T17:24:01.892" v="1281" actId="478"/>
          <ac:spMkLst>
            <pc:docMk/>
            <pc:sldMk cId="2759589870" sldId="2134806350"/>
            <ac:spMk id="7" creationId="{123EC169-7644-486C-8036-F709D2DAEAF0}"/>
          </ac:spMkLst>
        </pc:spChg>
        <pc:spChg chg="add mod">
          <ac:chgData name="STEPANCHENKO, D. (Dmitrii)" userId="30c9d29d-ac41-46ff-b2be-c3f5dd1e26e1" providerId="ADAL" clId="{AECDBD64-E75C-4C05-9678-D3B35BDA44EC}" dt="2023-01-10T17:55:26.467" v="2508" actId="20577"/>
          <ac:spMkLst>
            <pc:docMk/>
            <pc:sldMk cId="2759589870" sldId="2134806350"/>
            <ac:spMk id="16" creationId="{C7BB59C7-6FCB-4656-9DA6-0EFB7D8DE9F6}"/>
          </ac:spMkLst>
        </pc:spChg>
        <pc:spChg chg="add mod">
          <ac:chgData name="STEPANCHENKO, D. (Dmitrii)" userId="30c9d29d-ac41-46ff-b2be-c3f5dd1e26e1" providerId="ADAL" clId="{AECDBD64-E75C-4C05-9678-D3B35BDA44EC}" dt="2023-01-11T17:16:48.222" v="2816" actId="208"/>
          <ac:spMkLst>
            <pc:docMk/>
            <pc:sldMk cId="2759589870" sldId="2134806350"/>
            <ac:spMk id="19" creationId="{3D98BB4E-4B9D-436D-BEDF-E9ABAC4F3A5F}"/>
          </ac:spMkLst>
        </pc:spChg>
        <pc:spChg chg="add mod">
          <ac:chgData name="STEPANCHENKO, D. (Dmitrii)" userId="30c9d29d-ac41-46ff-b2be-c3f5dd1e26e1" providerId="ADAL" clId="{AECDBD64-E75C-4C05-9678-D3B35BDA44EC}" dt="2023-01-10T17:52:27.360" v="2370"/>
          <ac:spMkLst>
            <pc:docMk/>
            <pc:sldMk cId="2759589870" sldId="2134806350"/>
            <ac:spMk id="23" creationId="{79C697E4-9D80-48F3-9380-11306DD6B7BA}"/>
          </ac:spMkLst>
        </pc:spChg>
        <pc:spChg chg="add mod">
          <ac:chgData name="STEPANCHENKO, D. (Dmitrii)" userId="30c9d29d-ac41-46ff-b2be-c3f5dd1e26e1" providerId="ADAL" clId="{AECDBD64-E75C-4C05-9678-D3B35BDA44EC}" dt="2023-01-11T18:04:29.961" v="3887" actId="208"/>
          <ac:spMkLst>
            <pc:docMk/>
            <pc:sldMk cId="2759589870" sldId="2134806350"/>
            <ac:spMk id="24" creationId="{AC22F2D7-F662-4426-B19B-BE46B45582F9}"/>
          </ac:spMkLst>
        </pc:spChg>
        <pc:spChg chg="add mod">
          <ac:chgData name="STEPANCHENKO, D. (Dmitrii)" userId="30c9d29d-ac41-46ff-b2be-c3f5dd1e26e1" providerId="ADAL" clId="{AECDBD64-E75C-4C05-9678-D3B35BDA44EC}" dt="2023-01-10T17:56:56.163" v="2590" actId="1076"/>
          <ac:spMkLst>
            <pc:docMk/>
            <pc:sldMk cId="2759589870" sldId="2134806350"/>
            <ac:spMk id="25" creationId="{CFF448CA-972F-4E02-B230-AFFFA39D9CE3}"/>
          </ac:spMkLst>
        </pc:spChg>
        <pc:graphicFrameChg chg="add mod">
          <ac:chgData name="STEPANCHENKO, D. (Dmitrii)" userId="30c9d29d-ac41-46ff-b2be-c3f5dd1e26e1" providerId="ADAL" clId="{AECDBD64-E75C-4C05-9678-D3B35BDA44EC}" dt="2023-01-11T18:04:40.555" v="3890" actId="207"/>
          <ac:graphicFrameMkLst>
            <pc:docMk/>
            <pc:sldMk cId="2759589870" sldId="2134806350"/>
            <ac:graphicFrameMk id="9" creationId="{91A8818E-71FE-43C6-9D03-22D974473735}"/>
          </ac:graphicFrameMkLst>
        </pc:graphicFrameChg>
        <pc:picChg chg="del">
          <ac:chgData name="STEPANCHENKO, D. (Dmitrii)" userId="30c9d29d-ac41-46ff-b2be-c3f5dd1e26e1" providerId="ADAL" clId="{AECDBD64-E75C-4C05-9678-D3B35BDA44EC}" dt="2023-01-10T17:24:03.894" v="1282" actId="478"/>
          <ac:picMkLst>
            <pc:docMk/>
            <pc:sldMk cId="2759589870" sldId="2134806350"/>
            <ac:picMk id="8" creationId="{0FFAACA2-8C69-4ADF-A6B9-2B8050074E2D}"/>
          </ac:picMkLst>
        </pc:picChg>
        <pc:cxnChg chg="add mod">
          <ac:chgData name="STEPANCHENKO, D. (Dmitrii)" userId="30c9d29d-ac41-46ff-b2be-c3f5dd1e26e1" providerId="ADAL" clId="{AECDBD64-E75C-4C05-9678-D3B35BDA44EC}" dt="2023-01-10T17:55:00.846" v="2502" actId="1036"/>
          <ac:cxnSpMkLst>
            <pc:docMk/>
            <pc:sldMk cId="2759589870" sldId="2134806350"/>
            <ac:cxnSpMk id="6" creationId="{CB7C328B-7A05-4AEC-A787-CD4ECE7AFB6E}"/>
          </ac:cxnSpMkLst>
        </pc:cxnChg>
        <pc:cxnChg chg="add mod">
          <ac:chgData name="STEPANCHENKO, D. (Dmitrii)" userId="30c9d29d-ac41-46ff-b2be-c3f5dd1e26e1" providerId="ADAL" clId="{AECDBD64-E75C-4C05-9678-D3B35BDA44EC}" dt="2023-01-10T17:54:52.625" v="2494" actId="1037"/>
          <ac:cxnSpMkLst>
            <pc:docMk/>
            <pc:sldMk cId="2759589870" sldId="2134806350"/>
            <ac:cxnSpMk id="12" creationId="{4797622E-9141-486A-A8F9-F357C924153B}"/>
          </ac:cxnSpMkLst>
        </pc:cxnChg>
        <pc:cxnChg chg="add mod">
          <ac:chgData name="STEPANCHENKO, D. (Dmitrii)" userId="30c9d29d-ac41-46ff-b2be-c3f5dd1e26e1" providerId="ADAL" clId="{AECDBD64-E75C-4C05-9678-D3B35BDA44EC}" dt="2023-01-10T17:55:03.759" v="2506" actId="1037"/>
          <ac:cxnSpMkLst>
            <pc:docMk/>
            <pc:sldMk cId="2759589870" sldId="2134806350"/>
            <ac:cxnSpMk id="15" creationId="{9F153B35-FCCC-42D3-9C7D-6208D3A9F6D0}"/>
          </ac:cxnSpMkLst>
        </pc:cxnChg>
        <pc:cxnChg chg="add mod">
          <ac:chgData name="STEPANCHENKO, D. (Dmitrii)" userId="30c9d29d-ac41-46ff-b2be-c3f5dd1e26e1" providerId="ADAL" clId="{AECDBD64-E75C-4C05-9678-D3B35BDA44EC}" dt="2023-01-10T17:50:19.613" v="2185" actId="1035"/>
          <ac:cxnSpMkLst>
            <pc:docMk/>
            <pc:sldMk cId="2759589870" sldId="2134806350"/>
            <ac:cxnSpMk id="18" creationId="{217C915B-15F1-4992-B9BE-77406282C0C2}"/>
          </ac:cxnSpMkLst>
        </pc:cxnChg>
        <pc:cxnChg chg="add mod">
          <ac:chgData name="STEPANCHENKO, D. (Dmitrii)" userId="30c9d29d-ac41-46ff-b2be-c3f5dd1e26e1" providerId="ADAL" clId="{AECDBD64-E75C-4C05-9678-D3B35BDA44EC}" dt="2023-01-10T17:54:36.800" v="2442" actId="1038"/>
          <ac:cxnSpMkLst>
            <pc:docMk/>
            <pc:sldMk cId="2759589870" sldId="2134806350"/>
            <ac:cxnSpMk id="20" creationId="{66E140BE-003D-4683-9606-EBCA10243B56}"/>
          </ac:cxnSpMkLst>
        </pc:cxnChg>
        <pc:cxnChg chg="add mod">
          <ac:chgData name="STEPANCHENKO, D. (Dmitrii)" userId="30c9d29d-ac41-46ff-b2be-c3f5dd1e26e1" providerId="ADAL" clId="{AECDBD64-E75C-4C05-9678-D3B35BDA44EC}" dt="2023-01-11T18:04:29.961" v="3887" actId="208"/>
          <ac:cxnSpMkLst>
            <pc:docMk/>
            <pc:sldMk cId="2759589870" sldId="2134806350"/>
            <ac:cxnSpMk id="21" creationId="{7672E221-8CF1-48EF-BAE7-0D19358E5323}"/>
          </ac:cxnSpMkLst>
        </pc:cxnChg>
        <pc:cxnChg chg="add mod">
          <ac:chgData name="STEPANCHENKO, D. (Dmitrii)" userId="30c9d29d-ac41-46ff-b2be-c3f5dd1e26e1" providerId="ADAL" clId="{AECDBD64-E75C-4C05-9678-D3B35BDA44EC}" dt="2023-01-11T18:04:29.961" v="3887" actId="208"/>
          <ac:cxnSpMkLst>
            <pc:docMk/>
            <pc:sldMk cId="2759589870" sldId="2134806350"/>
            <ac:cxnSpMk id="22" creationId="{8C84693E-5F4E-4729-B966-471A481F3524}"/>
          </ac:cxnSpMkLst>
        </pc:cxnChg>
      </pc:sldChg>
      <pc:sldChg chg="add del">
        <pc:chgData name="STEPANCHENKO, D. (Dmitrii)" userId="30c9d29d-ac41-46ff-b2be-c3f5dd1e26e1" providerId="ADAL" clId="{AECDBD64-E75C-4C05-9678-D3B35BDA44EC}" dt="2023-01-05T11:46:45.826" v="1" actId="47"/>
        <pc:sldMkLst>
          <pc:docMk/>
          <pc:sldMk cId="3319432739" sldId="2134806350"/>
        </pc:sldMkLst>
      </pc:sldChg>
      <pc:sldChg chg="addSp delSp modSp add mod ord modAnim">
        <pc:chgData name="STEPANCHENKO, D. (Dmitrii)" userId="30c9d29d-ac41-46ff-b2be-c3f5dd1e26e1" providerId="ADAL" clId="{AECDBD64-E75C-4C05-9678-D3B35BDA44EC}" dt="2023-01-11T17:25:19.858" v="3014" actId="20577"/>
        <pc:sldMkLst>
          <pc:docMk/>
          <pc:sldMk cId="853866529" sldId="2134806351"/>
        </pc:sldMkLst>
        <pc:spChg chg="add mod">
          <ac:chgData name="STEPANCHENKO, D. (Dmitrii)" userId="30c9d29d-ac41-46ff-b2be-c3f5dd1e26e1" providerId="ADAL" clId="{AECDBD64-E75C-4C05-9678-D3B35BDA44EC}" dt="2023-01-11T17:17:27.691" v="2829" actId="1036"/>
          <ac:spMkLst>
            <pc:docMk/>
            <pc:sldMk cId="853866529" sldId="2134806351"/>
            <ac:spMk id="3" creationId="{3BE7636F-1243-4E0B-8D51-F122D728B419}"/>
          </ac:spMkLst>
        </pc:spChg>
        <pc:spChg chg="mod">
          <ac:chgData name="STEPANCHENKO, D. (Dmitrii)" userId="30c9d29d-ac41-46ff-b2be-c3f5dd1e26e1" providerId="ADAL" clId="{AECDBD64-E75C-4C05-9678-D3B35BDA44EC}" dt="2023-01-11T17:25:19.858" v="3014" actId="20577"/>
          <ac:spMkLst>
            <pc:docMk/>
            <pc:sldMk cId="853866529" sldId="2134806351"/>
            <ac:spMk id="5" creationId="{81BD1123-3626-1C45-BF5B-1C1864FA8AFA}"/>
          </ac:spMkLst>
        </pc:spChg>
        <pc:spChg chg="del">
          <ac:chgData name="STEPANCHENKO, D. (Dmitrii)" userId="30c9d29d-ac41-46ff-b2be-c3f5dd1e26e1" providerId="ADAL" clId="{AECDBD64-E75C-4C05-9678-D3B35BDA44EC}" dt="2023-01-11T16:58:50.181" v="2592" actId="478"/>
          <ac:spMkLst>
            <pc:docMk/>
            <pc:sldMk cId="853866529" sldId="2134806351"/>
            <ac:spMk id="16" creationId="{C7BB59C7-6FCB-4656-9DA6-0EFB7D8DE9F6}"/>
          </ac:spMkLst>
        </pc:spChg>
        <pc:spChg chg="del">
          <ac:chgData name="STEPANCHENKO, D. (Dmitrii)" userId="30c9d29d-ac41-46ff-b2be-c3f5dd1e26e1" providerId="ADAL" clId="{AECDBD64-E75C-4C05-9678-D3B35BDA44EC}" dt="2023-01-11T16:58:50.181" v="2592" actId="478"/>
          <ac:spMkLst>
            <pc:docMk/>
            <pc:sldMk cId="853866529" sldId="2134806351"/>
            <ac:spMk id="19" creationId="{3D98BB4E-4B9D-436D-BEDF-E9ABAC4F3A5F}"/>
          </ac:spMkLst>
        </pc:spChg>
        <pc:spChg chg="add del mod">
          <ac:chgData name="STEPANCHENKO, D. (Dmitrii)" userId="30c9d29d-ac41-46ff-b2be-c3f5dd1e26e1" providerId="ADAL" clId="{AECDBD64-E75C-4C05-9678-D3B35BDA44EC}" dt="2023-01-11T17:13:02.319" v="2669" actId="478"/>
          <ac:spMkLst>
            <pc:docMk/>
            <pc:sldMk cId="853866529" sldId="2134806351"/>
            <ac:spMk id="23" creationId="{F7422600-0448-4A69-92C2-CB7DF9814577}"/>
          </ac:spMkLst>
        </pc:spChg>
        <pc:spChg chg="del">
          <ac:chgData name="STEPANCHENKO, D. (Dmitrii)" userId="30c9d29d-ac41-46ff-b2be-c3f5dd1e26e1" providerId="ADAL" clId="{AECDBD64-E75C-4C05-9678-D3B35BDA44EC}" dt="2023-01-11T16:58:50.181" v="2592" actId="478"/>
          <ac:spMkLst>
            <pc:docMk/>
            <pc:sldMk cId="853866529" sldId="2134806351"/>
            <ac:spMk id="24" creationId="{AC22F2D7-F662-4426-B19B-BE46B45582F9}"/>
          </ac:spMkLst>
        </pc:spChg>
        <pc:spChg chg="del">
          <ac:chgData name="STEPANCHENKO, D. (Dmitrii)" userId="30c9d29d-ac41-46ff-b2be-c3f5dd1e26e1" providerId="ADAL" clId="{AECDBD64-E75C-4C05-9678-D3B35BDA44EC}" dt="2023-01-11T16:58:56.605" v="2595" actId="478"/>
          <ac:spMkLst>
            <pc:docMk/>
            <pc:sldMk cId="853866529" sldId="2134806351"/>
            <ac:spMk id="25" creationId="{CFF448CA-972F-4E02-B230-AFFFA39D9CE3}"/>
          </ac:spMkLst>
        </pc:spChg>
        <pc:spChg chg="add mod">
          <ac:chgData name="STEPANCHENKO, D. (Dmitrii)" userId="30c9d29d-ac41-46ff-b2be-c3f5dd1e26e1" providerId="ADAL" clId="{AECDBD64-E75C-4C05-9678-D3B35BDA44EC}" dt="2023-01-11T17:17:23.345" v="2821" actId="1076"/>
          <ac:spMkLst>
            <pc:docMk/>
            <pc:sldMk cId="853866529" sldId="2134806351"/>
            <ac:spMk id="26" creationId="{EA1672C4-2CB1-4557-ACFE-942418292B7F}"/>
          </ac:spMkLst>
        </pc:spChg>
        <pc:spChg chg="add mod">
          <ac:chgData name="STEPANCHENKO, D. (Dmitrii)" userId="30c9d29d-ac41-46ff-b2be-c3f5dd1e26e1" providerId="ADAL" clId="{AECDBD64-E75C-4C05-9678-D3B35BDA44EC}" dt="2023-01-11T17:17:27.691" v="2829" actId="1036"/>
          <ac:spMkLst>
            <pc:docMk/>
            <pc:sldMk cId="853866529" sldId="2134806351"/>
            <ac:spMk id="27" creationId="{A5CBA71D-9F97-491B-B724-48626DE4DA3B}"/>
          </ac:spMkLst>
        </pc:spChg>
        <pc:spChg chg="add mod">
          <ac:chgData name="STEPANCHENKO, D. (Dmitrii)" userId="30c9d29d-ac41-46ff-b2be-c3f5dd1e26e1" providerId="ADAL" clId="{AECDBD64-E75C-4C05-9678-D3B35BDA44EC}" dt="2023-01-11T17:17:27.691" v="2829" actId="1036"/>
          <ac:spMkLst>
            <pc:docMk/>
            <pc:sldMk cId="853866529" sldId="2134806351"/>
            <ac:spMk id="28" creationId="{1100877E-E3A1-4275-8BC4-BC80CF55428B}"/>
          </ac:spMkLst>
        </pc:spChg>
        <pc:spChg chg="add mod">
          <ac:chgData name="STEPANCHENKO, D. (Dmitrii)" userId="30c9d29d-ac41-46ff-b2be-c3f5dd1e26e1" providerId="ADAL" clId="{AECDBD64-E75C-4C05-9678-D3B35BDA44EC}" dt="2023-01-11T17:17:37.977" v="2832" actId="1076"/>
          <ac:spMkLst>
            <pc:docMk/>
            <pc:sldMk cId="853866529" sldId="2134806351"/>
            <ac:spMk id="30" creationId="{1C945C46-2903-442B-AFE6-3BDCA1A34F65}"/>
          </ac:spMkLst>
        </pc:spChg>
        <pc:spChg chg="add mod">
          <ac:chgData name="STEPANCHENKO, D. (Dmitrii)" userId="30c9d29d-ac41-46ff-b2be-c3f5dd1e26e1" providerId="ADAL" clId="{AECDBD64-E75C-4C05-9678-D3B35BDA44EC}" dt="2023-01-11T17:17:27.691" v="2829" actId="1036"/>
          <ac:spMkLst>
            <pc:docMk/>
            <pc:sldMk cId="853866529" sldId="2134806351"/>
            <ac:spMk id="31" creationId="{17D27AF9-8AE3-462C-849B-F22D1AF57A3C}"/>
          </ac:spMkLst>
        </pc:spChg>
        <pc:spChg chg="add mod">
          <ac:chgData name="STEPANCHENKO, D. (Dmitrii)" userId="30c9d29d-ac41-46ff-b2be-c3f5dd1e26e1" providerId="ADAL" clId="{AECDBD64-E75C-4C05-9678-D3B35BDA44EC}" dt="2023-01-11T17:17:27.691" v="2829" actId="1036"/>
          <ac:spMkLst>
            <pc:docMk/>
            <pc:sldMk cId="853866529" sldId="2134806351"/>
            <ac:spMk id="32" creationId="{34966F64-340C-4DA4-8E69-1654537D6289}"/>
          </ac:spMkLst>
        </pc:spChg>
        <pc:spChg chg="add mod">
          <ac:chgData name="STEPANCHENKO, D. (Dmitrii)" userId="30c9d29d-ac41-46ff-b2be-c3f5dd1e26e1" providerId="ADAL" clId="{AECDBD64-E75C-4C05-9678-D3B35BDA44EC}" dt="2023-01-11T17:17:27.691" v="2829" actId="1036"/>
          <ac:spMkLst>
            <pc:docMk/>
            <pc:sldMk cId="853866529" sldId="2134806351"/>
            <ac:spMk id="33" creationId="{5A9A2580-48AF-4A52-8037-DDDE8845D865}"/>
          </ac:spMkLst>
        </pc:spChg>
        <pc:graphicFrameChg chg="del mod">
          <ac:chgData name="STEPANCHENKO, D. (Dmitrii)" userId="30c9d29d-ac41-46ff-b2be-c3f5dd1e26e1" providerId="ADAL" clId="{AECDBD64-E75C-4C05-9678-D3B35BDA44EC}" dt="2023-01-11T16:58:54.109" v="2594" actId="478"/>
          <ac:graphicFrameMkLst>
            <pc:docMk/>
            <pc:sldMk cId="853866529" sldId="2134806351"/>
            <ac:graphicFrameMk id="9" creationId="{91A8818E-71FE-43C6-9D03-22D974473735}"/>
          </ac:graphicFrameMkLst>
        </pc:graphicFrameChg>
        <pc:picChg chg="add mod">
          <ac:chgData name="STEPANCHENKO, D. (Dmitrii)" userId="30c9d29d-ac41-46ff-b2be-c3f5dd1e26e1" providerId="ADAL" clId="{AECDBD64-E75C-4C05-9678-D3B35BDA44EC}" dt="2023-01-11T17:17:51.927" v="2835" actId="14100"/>
          <ac:picMkLst>
            <pc:docMk/>
            <pc:sldMk cId="853866529" sldId="2134806351"/>
            <ac:picMk id="7" creationId="{4244002E-6BD0-4CEE-B5AC-E6318B205A4C}"/>
          </ac:picMkLst>
        </pc:picChg>
        <pc:cxnChg chg="del">
          <ac:chgData name="STEPANCHENKO, D. (Dmitrii)" userId="30c9d29d-ac41-46ff-b2be-c3f5dd1e26e1" providerId="ADAL" clId="{AECDBD64-E75C-4C05-9678-D3B35BDA44EC}" dt="2023-01-11T16:58:50.181" v="2592" actId="478"/>
          <ac:cxnSpMkLst>
            <pc:docMk/>
            <pc:sldMk cId="853866529" sldId="2134806351"/>
            <ac:cxnSpMk id="6" creationId="{CB7C328B-7A05-4AEC-A787-CD4ECE7AFB6E}"/>
          </ac:cxnSpMkLst>
        </pc:cxnChg>
        <pc:cxnChg chg="del">
          <ac:chgData name="STEPANCHENKO, D. (Dmitrii)" userId="30c9d29d-ac41-46ff-b2be-c3f5dd1e26e1" providerId="ADAL" clId="{AECDBD64-E75C-4C05-9678-D3B35BDA44EC}" dt="2023-01-11T16:58:50.181" v="2592" actId="478"/>
          <ac:cxnSpMkLst>
            <pc:docMk/>
            <pc:sldMk cId="853866529" sldId="2134806351"/>
            <ac:cxnSpMk id="12" creationId="{4797622E-9141-486A-A8F9-F357C924153B}"/>
          </ac:cxnSpMkLst>
        </pc:cxnChg>
        <pc:cxnChg chg="del">
          <ac:chgData name="STEPANCHENKO, D. (Dmitrii)" userId="30c9d29d-ac41-46ff-b2be-c3f5dd1e26e1" providerId="ADAL" clId="{AECDBD64-E75C-4C05-9678-D3B35BDA44EC}" dt="2023-01-11T16:58:50.181" v="2592" actId="478"/>
          <ac:cxnSpMkLst>
            <pc:docMk/>
            <pc:sldMk cId="853866529" sldId="2134806351"/>
            <ac:cxnSpMk id="15" creationId="{9F153B35-FCCC-42D3-9C7D-6208D3A9F6D0}"/>
          </ac:cxnSpMkLst>
        </pc:cxnChg>
        <pc:cxnChg chg="add mod">
          <ac:chgData name="STEPANCHENKO, D. (Dmitrii)" userId="30c9d29d-ac41-46ff-b2be-c3f5dd1e26e1" providerId="ADAL" clId="{AECDBD64-E75C-4C05-9678-D3B35BDA44EC}" dt="2023-01-11T17:17:27.691" v="2829" actId="1036"/>
          <ac:cxnSpMkLst>
            <pc:docMk/>
            <pc:sldMk cId="853866529" sldId="2134806351"/>
            <ac:cxnSpMk id="17" creationId="{20DFEBAE-BC9B-4B59-833D-C4FD382B19EE}"/>
          </ac:cxnSpMkLst>
        </pc:cxnChg>
        <pc:cxnChg chg="del">
          <ac:chgData name="STEPANCHENKO, D. (Dmitrii)" userId="30c9d29d-ac41-46ff-b2be-c3f5dd1e26e1" providerId="ADAL" clId="{AECDBD64-E75C-4C05-9678-D3B35BDA44EC}" dt="2023-01-11T16:58:50.181" v="2592" actId="478"/>
          <ac:cxnSpMkLst>
            <pc:docMk/>
            <pc:sldMk cId="853866529" sldId="2134806351"/>
            <ac:cxnSpMk id="18" creationId="{217C915B-15F1-4992-B9BE-77406282C0C2}"/>
          </ac:cxnSpMkLst>
        </pc:cxnChg>
        <pc:cxnChg chg="del">
          <ac:chgData name="STEPANCHENKO, D. (Dmitrii)" userId="30c9d29d-ac41-46ff-b2be-c3f5dd1e26e1" providerId="ADAL" clId="{AECDBD64-E75C-4C05-9678-D3B35BDA44EC}" dt="2023-01-11T16:58:50.181" v="2592" actId="478"/>
          <ac:cxnSpMkLst>
            <pc:docMk/>
            <pc:sldMk cId="853866529" sldId="2134806351"/>
            <ac:cxnSpMk id="20" creationId="{66E140BE-003D-4683-9606-EBCA10243B56}"/>
          </ac:cxnSpMkLst>
        </pc:cxnChg>
        <pc:cxnChg chg="del">
          <ac:chgData name="STEPANCHENKO, D. (Dmitrii)" userId="30c9d29d-ac41-46ff-b2be-c3f5dd1e26e1" providerId="ADAL" clId="{AECDBD64-E75C-4C05-9678-D3B35BDA44EC}" dt="2023-01-11T16:58:50.181" v="2592" actId="478"/>
          <ac:cxnSpMkLst>
            <pc:docMk/>
            <pc:sldMk cId="853866529" sldId="2134806351"/>
            <ac:cxnSpMk id="21" creationId="{7672E221-8CF1-48EF-BAE7-0D19358E5323}"/>
          </ac:cxnSpMkLst>
        </pc:cxnChg>
        <pc:cxnChg chg="del">
          <ac:chgData name="STEPANCHENKO, D. (Dmitrii)" userId="30c9d29d-ac41-46ff-b2be-c3f5dd1e26e1" providerId="ADAL" clId="{AECDBD64-E75C-4C05-9678-D3B35BDA44EC}" dt="2023-01-11T16:58:50.181" v="2592" actId="478"/>
          <ac:cxnSpMkLst>
            <pc:docMk/>
            <pc:sldMk cId="853866529" sldId="2134806351"/>
            <ac:cxnSpMk id="22" creationId="{8C84693E-5F4E-4729-B966-471A481F3524}"/>
          </ac:cxnSpMkLst>
        </pc:cxnChg>
        <pc:cxnChg chg="add mod">
          <ac:chgData name="STEPANCHENKO, D. (Dmitrii)" userId="30c9d29d-ac41-46ff-b2be-c3f5dd1e26e1" providerId="ADAL" clId="{AECDBD64-E75C-4C05-9678-D3B35BDA44EC}" dt="2023-01-11T17:17:27.691" v="2829" actId="1036"/>
          <ac:cxnSpMkLst>
            <pc:docMk/>
            <pc:sldMk cId="853866529" sldId="2134806351"/>
            <ac:cxnSpMk id="29" creationId="{E058FA45-4AA2-486C-B4A2-48DB749EC2FC}"/>
          </ac:cxnSpMkLst>
        </pc:cxnChg>
      </pc:sldChg>
      <pc:sldChg chg="addSp delSp modSp add mod">
        <pc:chgData name="STEPANCHENKO, D. (Dmitrii)" userId="30c9d29d-ac41-46ff-b2be-c3f5dd1e26e1" providerId="ADAL" clId="{AECDBD64-E75C-4C05-9678-D3B35BDA44EC}" dt="2023-01-26T15:09:06.002" v="8029" actId="20577"/>
        <pc:sldMkLst>
          <pc:docMk/>
          <pc:sldMk cId="1653022067" sldId="2134806352"/>
        </pc:sldMkLst>
        <pc:spChg chg="add mod">
          <ac:chgData name="STEPANCHENKO, D. (Dmitrii)" userId="30c9d29d-ac41-46ff-b2be-c3f5dd1e26e1" providerId="ADAL" clId="{AECDBD64-E75C-4C05-9678-D3B35BDA44EC}" dt="2023-01-11T17:22:38.954" v="2992" actId="14100"/>
          <ac:spMkLst>
            <pc:docMk/>
            <pc:sldMk cId="1653022067" sldId="2134806352"/>
            <ac:spMk id="4" creationId="{6325E7AC-67F9-40EF-B869-4829645F24AC}"/>
          </ac:spMkLst>
        </pc:spChg>
        <pc:spChg chg="mod">
          <ac:chgData name="STEPANCHENKO, D. (Dmitrii)" userId="30c9d29d-ac41-46ff-b2be-c3f5dd1e26e1" providerId="ADAL" clId="{AECDBD64-E75C-4C05-9678-D3B35BDA44EC}" dt="2023-01-11T18:14:54.360" v="4056" actId="20577"/>
          <ac:spMkLst>
            <pc:docMk/>
            <pc:sldMk cId="1653022067" sldId="2134806352"/>
            <ac:spMk id="5" creationId="{81BD1123-3626-1C45-BF5B-1C1864FA8AFA}"/>
          </ac:spMkLst>
        </pc:spChg>
        <pc:spChg chg="add del mod">
          <ac:chgData name="STEPANCHENKO, D. (Dmitrii)" userId="30c9d29d-ac41-46ff-b2be-c3f5dd1e26e1" providerId="ADAL" clId="{AECDBD64-E75C-4C05-9678-D3B35BDA44EC}" dt="2023-01-11T17:28:39.252" v="3071" actId="478"/>
          <ac:spMkLst>
            <pc:docMk/>
            <pc:sldMk cId="1653022067" sldId="2134806352"/>
            <ac:spMk id="6" creationId="{90B8FBE2-3BC9-48C4-897E-5F24F8A3FF49}"/>
          </ac:spMkLst>
        </pc:spChg>
        <pc:spChg chg="add del mod">
          <ac:chgData name="STEPANCHENKO, D. (Dmitrii)" userId="30c9d29d-ac41-46ff-b2be-c3f5dd1e26e1" providerId="ADAL" clId="{AECDBD64-E75C-4C05-9678-D3B35BDA44EC}" dt="2023-01-11T17:28:39.252" v="3071" actId="478"/>
          <ac:spMkLst>
            <pc:docMk/>
            <pc:sldMk cId="1653022067" sldId="2134806352"/>
            <ac:spMk id="7" creationId="{40031392-E1B0-4F54-828D-718F91A5B177}"/>
          </ac:spMkLst>
        </pc:spChg>
        <pc:spChg chg="add del mod">
          <ac:chgData name="STEPANCHENKO, D. (Dmitrii)" userId="30c9d29d-ac41-46ff-b2be-c3f5dd1e26e1" providerId="ADAL" clId="{AECDBD64-E75C-4C05-9678-D3B35BDA44EC}" dt="2023-01-11T17:35:20.195" v="3247"/>
          <ac:spMkLst>
            <pc:docMk/>
            <pc:sldMk cId="1653022067" sldId="2134806352"/>
            <ac:spMk id="13" creationId="{70DB52B0-EEF5-4282-A06D-880B401482D2}"/>
          </ac:spMkLst>
        </pc:spChg>
        <pc:spChg chg="add del mod">
          <ac:chgData name="STEPANCHENKO, D. (Dmitrii)" userId="30c9d29d-ac41-46ff-b2be-c3f5dd1e26e1" providerId="ADAL" clId="{AECDBD64-E75C-4C05-9678-D3B35BDA44EC}" dt="2023-01-11T17:47:33.240" v="3367" actId="21"/>
          <ac:spMkLst>
            <pc:docMk/>
            <pc:sldMk cId="1653022067" sldId="2134806352"/>
            <ac:spMk id="24" creationId="{FD9B878D-BEC9-4B3D-9F29-8ED4F54DCCB5}"/>
          </ac:spMkLst>
        </pc:spChg>
        <pc:spChg chg="add del mod">
          <ac:chgData name="STEPANCHENKO, D. (Dmitrii)" userId="30c9d29d-ac41-46ff-b2be-c3f5dd1e26e1" providerId="ADAL" clId="{AECDBD64-E75C-4C05-9678-D3B35BDA44EC}" dt="2023-01-11T17:47:33.240" v="3367" actId="21"/>
          <ac:spMkLst>
            <pc:docMk/>
            <pc:sldMk cId="1653022067" sldId="2134806352"/>
            <ac:spMk id="25" creationId="{3CEF257D-F073-4F0C-901A-0BF77B4F3C82}"/>
          </ac:spMkLst>
        </pc:spChg>
        <pc:spChg chg="add mod">
          <ac:chgData name="STEPANCHENKO, D. (Dmitrii)" userId="30c9d29d-ac41-46ff-b2be-c3f5dd1e26e1" providerId="ADAL" clId="{AECDBD64-E75C-4C05-9678-D3B35BDA44EC}" dt="2023-01-26T15:09:06.002" v="8029" actId="20577"/>
          <ac:spMkLst>
            <pc:docMk/>
            <pc:sldMk cId="1653022067" sldId="2134806352"/>
            <ac:spMk id="29" creationId="{B489BCEE-C2F1-49C1-977B-A9DD12656A59}"/>
          </ac:spMkLst>
        </pc:spChg>
        <pc:graphicFrameChg chg="add mod modGraphic">
          <ac:chgData name="STEPANCHENKO, D. (Dmitrii)" userId="30c9d29d-ac41-46ff-b2be-c3f5dd1e26e1" providerId="ADAL" clId="{AECDBD64-E75C-4C05-9678-D3B35BDA44EC}" dt="2023-01-11T18:13:33.404" v="4042" actId="14100"/>
          <ac:graphicFrameMkLst>
            <pc:docMk/>
            <pc:sldMk cId="1653022067" sldId="2134806352"/>
            <ac:graphicFrameMk id="3" creationId="{B6B98FA0-3239-47C0-81D7-073FC6C4F4D7}"/>
          </ac:graphicFrameMkLst>
        </pc:graphicFrameChg>
        <pc:graphicFrameChg chg="add mod modGraphic">
          <ac:chgData name="STEPANCHENKO, D. (Dmitrii)" userId="30c9d29d-ac41-46ff-b2be-c3f5dd1e26e1" providerId="ADAL" clId="{AECDBD64-E75C-4C05-9678-D3B35BDA44EC}" dt="2023-01-11T18:07:33.585" v="3933" actId="20577"/>
          <ac:graphicFrameMkLst>
            <pc:docMk/>
            <pc:sldMk cId="1653022067" sldId="2134806352"/>
            <ac:graphicFrameMk id="12" creationId="{6B6B6F5A-FC3E-4007-93A3-F1D7F737D82D}"/>
          </ac:graphicFrameMkLst>
        </pc:graphicFrameChg>
        <pc:graphicFrameChg chg="add del mod">
          <ac:chgData name="STEPANCHENKO, D. (Dmitrii)" userId="30c9d29d-ac41-46ff-b2be-c3f5dd1e26e1" providerId="ADAL" clId="{AECDBD64-E75C-4C05-9678-D3B35BDA44EC}" dt="2023-01-11T17:37:05.077" v="3287" actId="478"/>
          <ac:graphicFrameMkLst>
            <pc:docMk/>
            <pc:sldMk cId="1653022067" sldId="2134806352"/>
            <ac:graphicFrameMk id="17" creationId="{5349C688-AA9A-4F07-B5A2-1F33EC6A09F3}"/>
          </ac:graphicFrameMkLst>
        </pc:graphicFrameChg>
        <pc:graphicFrameChg chg="add del mod modGraphic">
          <ac:chgData name="STEPANCHENKO, D. (Dmitrii)" userId="30c9d29d-ac41-46ff-b2be-c3f5dd1e26e1" providerId="ADAL" clId="{AECDBD64-E75C-4C05-9678-D3B35BDA44EC}" dt="2023-01-11T17:53:40.613" v="3471" actId="478"/>
          <ac:graphicFrameMkLst>
            <pc:docMk/>
            <pc:sldMk cId="1653022067" sldId="2134806352"/>
            <ac:graphicFrameMk id="18" creationId="{234934C6-7F8A-4484-BE2D-30E67B753AB5}"/>
          </ac:graphicFrameMkLst>
        </pc:graphicFrameChg>
        <pc:graphicFrameChg chg="add del mod modGraphic">
          <ac:chgData name="STEPANCHENKO, D. (Dmitrii)" userId="30c9d29d-ac41-46ff-b2be-c3f5dd1e26e1" providerId="ADAL" clId="{AECDBD64-E75C-4C05-9678-D3B35BDA44EC}" dt="2023-01-11T17:48:12.873" v="3374" actId="478"/>
          <ac:graphicFrameMkLst>
            <pc:docMk/>
            <pc:sldMk cId="1653022067" sldId="2134806352"/>
            <ac:graphicFrameMk id="21" creationId="{EDA3E5E9-070F-41D5-8A5E-38B6B7355F51}"/>
          </ac:graphicFrameMkLst>
        </pc:graphicFrameChg>
        <pc:graphicFrameChg chg="add mod modGraphic">
          <ac:chgData name="STEPANCHENKO, D. (Dmitrii)" userId="30c9d29d-ac41-46ff-b2be-c3f5dd1e26e1" providerId="ADAL" clId="{AECDBD64-E75C-4C05-9678-D3B35BDA44EC}" dt="2023-01-21T07:49:33.286" v="5652" actId="20577"/>
          <ac:graphicFrameMkLst>
            <pc:docMk/>
            <pc:sldMk cId="1653022067" sldId="2134806352"/>
            <ac:graphicFrameMk id="26" creationId="{B853135D-39E0-4256-A89F-69B04ED5396F}"/>
          </ac:graphicFrameMkLst>
        </pc:graphicFrameChg>
        <pc:graphicFrameChg chg="add mod modGraphic">
          <ac:chgData name="STEPANCHENKO, D. (Dmitrii)" userId="30c9d29d-ac41-46ff-b2be-c3f5dd1e26e1" providerId="ADAL" clId="{AECDBD64-E75C-4C05-9678-D3B35BDA44EC}" dt="2023-01-11T18:13:09.436" v="4039" actId="20577"/>
          <ac:graphicFrameMkLst>
            <pc:docMk/>
            <pc:sldMk cId="1653022067" sldId="2134806352"/>
            <ac:graphicFrameMk id="27" creationId="{EF916E41-6838-46F8-88F0-E74262BAFA6C}"/>
          </ac:graphicFrameMkLst>
        </pc:graphicFrameChg>
        <pc:picChg chg="add del mod">
          <ac:chgData name="STEPANCHENKO, D. (Dmitrii)" userId="30c9d29d-ac41-46ff-b2be-c3f5dd1e26e1" providerId="ADAL" clId="{AECDBD64-E75C-4C05-9678-D3B35BDA44EC}" dt="2023-01-11T17:47:33.240" v="3367" actId="21"/>
          <ac:picMkLst>
            <pc:docMk/>
            <pc:sldMk cId="1653022067" sldId="2134806352"/>
            <ac:picMk id="23" creationId="{C9C62BA3-063E-4F75-A545-9D9814D29613}"/>
          </ac:picMkLst>
        </pc:picChg>
        <pc:cxnChg chg="add mod">
          <ac:chgData name="STEPANCHENKO, D. (Dmitrii)" userId="30c9d29d-ac41-46ff-b2be-c3f5dd1e26e1" providerId="ADAL" clId="{AECDBD64-E75C-4C05-9678-D3B35BDA44EC}" dt="2023-01-11T17:36:26.941" v="3264" actId="14100"/>
          <ac:cxnSpMkLst>
            <pc:docMk/>
            <pc:sldMk cId="1653022067" sldId="2134806352"/>
            <ac:cxnSpMk id="9" creationId="{A7784EA8-D314-46D3-BDD8-432996BABF19}"/>
          </ac:cxnSpMkLst>
        </pc:cxnChg>
        <pc:cxnChg chg="add mod">
          <ac:chgData name="STEPANCHENKO, D. (Dmitrii)" userId="30c9d29d-ac41-46ff-b2be-c3f5dd1e26e1" providerId="ADAL" clId="{AECDBD64-E75C-4C05-9678-D3B35BDA44EC}" dt="2023-01-11T17:36:22.095" v="3263" actId="14100"/>
          <ac:cxnSpMkLst>
            <pc:docMk/>
            <pc:sldMk cId="1653022067" sldId="2134806352"/>
            <ac:cxnSpMk id="11" creationId="{1129C815-3EDF-40C2-87D2-34D9C0FEB2A0}"/>
          </ac:cxnSpMkLst>
        </pc:cxnChg>
      </pc:sldChg>
      <pc:sldChg chg="addSp delSp modSp add mod">
        <pc:chgData name="STEPANCHENKO, D. (Dmitrii)" userId="30c9d29d-ac41-46ff-b2be-c3f5dd1e26e1" providerId="ADAL" clId="{AECDBD64-E75C-4C05-9678-D3B35BDA44EC}" dt="2023-01-11T18:14:31.363" v="4054" actId="20577"/>
        <pc:sldMkLst>
          <pc:docMk/>
          <pc:sldMk cId="3668568787" sldId="2134806353"/>
        </pc:sldMkLst>
        <pc:spChg chg="mod">
          <ac:chgData name="STEPANCHENKO, D. (Dmitrii)" userId="30c9d29d-ac41-46ff-b2be-c3f5dd1e26e1" providerId="ADAL" clId="{AECDBD64-E75C-4C05-9678-D3B35BDA44EC}" dt="2023-01-11T18:14:31.363" v="4054" actId="20577"/>
          <ac:spMkLst>
            <pc:docMk/>
            <pc:sldMk cId="3668568787" sldId="2134806353"/>
            <ac:spMk id="5" creationId="{81BD1123-3626-1C45-BF5B-1C1864FA8AFA}"/>
          </ac:spMkLst>
        </pc:spChg>
        <pc:spChg chg="add mod">
          <ac:chgData name="STEPANCHENKO, D. (Dmitrii)" userId="30c9d29d-ac41-46ff-b2be-c3f5dd1e26e1" providerId="ADAL" clId="{AECDBD64-E75C-4C05-9678-D3B35BDA44EC}" dt="2023-01-11T17:50:53.863" v="3460" actId="1076"/>
          <ac:spMkLst>
            <pc:docMk/>
            <pc:sldMk cId="3668568787" sldId="2134806353"/>
            <ac:spMk id="6" creationId="{643608F7-1E7A-4F80-A9AD-FF9BFDDEC112}"/>
          </ac:spMkLst>
        </pc:spChg>
        <pc:spChg chg="add mod">
          <ac:chgData name="STEPANCHENKO, D. (Dmitrii)" userId="30c9d29d-ac41-46ff-b2be-c3f5dd1e26e1" providerId="ADAL" clId="{AECDBD64-E75C-4C05-9678-D3B35BDA44EC}" dt="2023-01-11T17:50:44.187" v="3459" actId="1076"/>
          <ac:spMkLst>
            <pc:docMk/>
            <pc:sldMk cId="3668568787" sldId="2134806353"/>
            <ac:spMk id="7" creationId="{0731D363-EF78-44C6-8ACE-46AC66811586}"/>
          </ac:spMkLst>
        </pc:spChg>
        <pc:picChg chg="add del mod">
          <ac:chgData name="STEPANCHENKO, D. (Dmitrii)" userId="30c9d29d-ac41-46ff-b2be-c3f5dd1e26e1" providerId="ADAL" clId="{AECDBD64-E75C-4C05-9678-D3B35BDA44EC}" dt="2023-01-11T17:50:03.177" v="3452" actId="478"/>
          <ac:picMkLst>
            <pc:docMk/>
            <pc:sldMk cId="3668568787" sldId="2134806353"/>
            <ac:picMk id="4" creationId="{5E6B07FD-36D6-49F2-AC50-26CF78FDFEED}"/>
          </ac:picMkLst>
        </pc:picChg>
        <pc:picChg chg="add mod ord">
          <ac:chgData name="STEPANCHENKO, D. (Dmitrii)" userId="30c9d29d-ac41-46ff-b2be-c3f5dd1e26e1" providerId="ADAL" clId="{AECDBD64-E75C-4C05-9678-D3B35BDA44EC}" dt="2023-01-11T17:50:41.628" v="3458" actId="167"/>
          <ac:picMkLst>
            <pc:docMk/>
            <pc:sldMk cId="3668568787" sldId="2134806353"/>
            <ac:picMk id="8" creationId="{DC57F71B-64C1-4228-81BC-5B865113477A}"/>
          </ac:picMkLst>
        </pc:picChg>
      </pc:sldChg>
      <pc:sldChg chg="add">
        <pc:chgData name="STEPANCHENKO, D. (Dmitrii)" userId="30c9d29d-ac41-46ff-b2be-c3f5dd1e26e1" providerId="ADAL" clId="{AECDBD64-E75C-4C05-9678-D3B35BDA44EC}" dt="2023-01-11T16:59:00.775" v="2598"/>
        <pc:sldMkLst>
          <pc:docMk/>
          <pc:sldMk cId="1098944605" sldId="2134806354"/>
        </pc:sldMkLst>
      </pc:sldChg>
      <pc:sldChg chg="addSp delSp modSp add del mod">
        <pc:chgData name="STEPANCHENKO, D. (Dmitrii)" userId="30c9d29d-ac41-46ff-b2be-c3f5dd1e26e1" providerId="ADAL" clId="{AECDBD64-E75C-4C05-9678-D3B35BDA44EC}" dt="2023-01-26T13:26:16.636" v="7038" actId="47"/>
        <pc:sldMkLst>
          <pc:docMk/>
          <pc:sldMk cId="1872100274" sldId="2134806355"/>
        </pc:sldMkLst>
        <pc:spChg chg="mod">
          <ac:chgData name="STEPANCHENKO, D. (Dmitrii)" userId="30c9d29d-ac41-46ff-b2be-c3f5dd1e26e1" providerId="ADAL" clId="{AECDBD64-E75C-4C05-9678-D3B35BDA44EC}" dt="2023-01-26T13:25:55.714" v="7027" actId="20577"/>
          <ac:spMkLst>
            <pc:docMk/>
            <pc:sldMk cId="1872100274" sldId="2134806355"/>
            <ac:spMk id="5" creationId="{81BD1123-3626-1C45-BF5B-1C1864FA8AFA}"/>
          </ac:spMkLst>
        </pc:spChg>
        <pc:spChg chg="add del mod">
          <ac:chgData name="STEPANCHENKO, D. (Dmitrii)" userId="30c9d29d-ac41-46ff-b2be-c3f5dd1e26e1" providerId="ADAL" clId="{AECDBD64-E75C-4C05-9678-D3B35BDA44EC}" dt="2023-01-26T13:26:12.860" v="7037"/>
          <ac:spMkLst>
            <pc:docMk/>
            <pc:sldMk cId="1872100274" sldId="2134806355"/>
            <ac:spMk id="6" creationId="{7304A516-7872-1BDB-C272-35B46237BDC5}"/>
          </ac:spMkLst>
        </pc:spChg>
        <pc:spChg chg="del">
          <ac:chgData name="STEPANCHENKO, D. (Dmitrii)" userId="30c9d29d-ac41-46ff-b2be-c3f5dd1e26e1" providerId="ADAL" clId="{AECDBD64-E75C-4C05-9678-D3B35BDA44EC}" dt="2023-01-26T13:25:50.192" v="7023" actId="478"/>
          <ac:spMkLst>
            <pc:docMk/>
            <pc:sldMk cId="1872100274" sldId="2134806355"/>
            <ac:spMk id="9" creationId="{17E51F88-4398-76C0-3DF9-8503C88BEBE1}"/>
          </ac:spMkLst>
        </pc:spChg>
        <pc:graphicFrameChg chg="del">
          <ac:chgData name="STEPANCHENKO, D. (Dmitrii)" userId="30c9d29d-ac41-46ff-b2be-c3f5dd1e26e1" providerId="ADAL" clId="{AECDBD64-E75C-4C05-9678-D3B35BDA44EC}" dt="2023-01-26T13:25:50.192" v="7023" actId="478"/>
          <ac:graphicFrameMkLst>
            <pc:docMk/>
            <pc:sldMk cId="1872100274" sldId="2134806355"/>
            <ac:graphicFrameMk id="3" creationId="{A12E7895-C2CC-4F97-8797-1EDFDB6BAB8A}"/>
          </ac:graphicFrameMkLst>
        </pc:graphicFrameChg>
        <pc:graphicFrameChg chg="del">
          <ac:chgData name="STEPANCHENKO, D. (Dmitrii)" userId="30c9d29d-ac41-46ff-b2be-c3f5dd1e26e1" providerId="ADAL" clId="{AECDBD64-E75C-4C05-9678-D3B35BDA44EC}" dt="2023-01-26T13:25:50.192" v="7023" actId="478"/>
          <ac:graphicFrameMkLst>
            <pc:docMk/>
            <pc:sldMk cId="1872100274" sldId="2134806355"/>
            <ac:graphicFrameMk id="8" creationId="{1A4ACF02-C0D9-4956-8284-1CE9DD6E2608}"/>
          </ac:graphicFrameMkLst>
        </pc:graphicFrameChg>
      </pc:sldChg>
    </pc:docChg>
  </pc:docChgLst>
  <pc:docChgLst>
    <pc:chgData name="STEPANCHENKO, D. (Dmitrii)" userId="30c9d29d-ac41-46ff-b2be-c3f5dd1e26e1" providerId="ADAL" clId="{F1089F27-2CA7-4F6B-AF97-026CBAF4CD7A}"/>
    <pc:docChg chg="undo custSel addSld delSld modSld sldOrd modSection">
      <pc:chgData name="STEPANCHENKO, D. (Dmitrii)" userId="30c9d29d-ac41-46ff-b2be-c3f5dd1e26e1" providerId="ADAL" clId="{F1089F27-2CA7-4F6B-AF97-026CBAF4CD7A}" dt="2023-02-12T14:22:55.654" v="5580" actId="113"/>
      <pc:docMkLst>
        <pc:docMk/>
      </pc:docMkLst>
      <pc:sldChg chg="modSp add del mod">
        <pc:chgData name="STEPANCHENKO, D. (Dmitrii)" userId="30c9d29d-ac41-46ff-b2be-c3f5dd1e26e1" providerId="ADAL" clId="{F1089F27-2CA7-4F6B-AF97-026CBAF4CD7A}" dt="2023-02-12T14:17:08.866" v="5120" actId="47"/>
        <pc:sldMkLst>
          <pc:docMk/>
          <pc:sldMk cId="1919997396" sldId="11065"/>
        </pc:sldMkLst>
        <pc:spChg chg="mod">
          <ac:chgData name="STEPANCHENKO, D. (Dmitrii)" userId="30c9d29d-ac41-46ff-b2be-c3f5dd1e26e1" providerId="ADAL" clId="{F1089F27-2CA7-4F6B-AF97-026CBAF4CD7A}" dt="2023-02-12T13:36:21.114" v="4730" actId="27636"/>
          <ac:spMkLst>
            <pc:docMk/>
            <pc:sldMk cId="1919997396" sldId="11065"/>
            <ac:spMk id="11" creationId="{24FD4DA9-DC7D-4926-B6C0-DDB34A58A5F4}"/>
          </ac:spMkLst>
        </pc:spChg>
        <pc:spChg chg="mod">
          <ac:chgData name="STEPANCHENKO, D. (Dmitrii)" userId="30c9d29d-ac41-46ff-b2be-c3f5dd1e26e1" providerId="ADAL" clId="{F1089F27-2CA7-4F6B-AF97-026CBAF4CD7A}" dt="2023-02-12T13:36:21.121" v="4732" actId="27636"/>
          <ac:spMkLst>
            <pc:docMk/>
            <pc:sldMk cId="1919997396" sldId="11065"/>
            <ac:spMk id="15" creationId="{9068F231-D344-41D9-9428-8F8AD350B5DB}"/>
          </ac:spMkLst>
        </pc:spChg>
        <pc:spChg chg="mod">
          <ac:chgData name="STEPANCHENKO, D. (Dmitrii)" userId="30c9d29d-ac41-46ff-b2be-c3f5dd1e26e1" providerId="ADAL" clId="{F1089F27-2CA7-4F6B-AF97-026CBAF4CD7A}" dt="2023-02-12T13:36:21.116" v="4731" actId="27636"/>
          <ac:spMkLst>
            <pc:docMk/>
            <pc:sldMk cId="1919997396" sldId="11065"/>
            <ac:spMk id="16" creationId="{6A506AEA-4DBC-484E-A104-1A795F0DEF0D}"/>
          </ac:spMkLst>
        </pc:spChg>
      </pc:sldChg>
      <pc:sldChg chg="addSp delSp modSp add mod">
        <pc:chgData name="STEPANCHENKO, D. (Dmitrii)" userId="30c9d29d-ac41-46ff-b2be-c3f5dd1e26e1" providerId="ADAL" clId="{F1089F27-2CA7-4F6B-AF97-026CBAF4CD7A}" dt="2023-02-12T11:30:43.520" v="3536" actId="1076"/>
        <pc:sldMkLst>
          <pc:docMk/>
          <pc:sldMk cId="1880343008" sldId="2134806241"/>
        </pc:sldMkLst>
        <pc:spChg chg="del mod">
          <ac:chgData name="STEPANCHENKO, D. (Dmitrii)" userId="30c9d29d-ac41-46ff-b2be-c3f5dd1e26e1" providerId="ADAL" clId="{F1089F27-2CA7-4F6B-AF97-026CBAF4CD7A}" dt="2023-02-12T11:30:13.626" v="3527" actId="478"/>
          <ac:spMkLst>
            <pc:docMk/>
            <pc:sldMk cId="1880343008" sldId="2134806241"/>
            <ac:spMk id="3" creationId="{81BD1123-3626-1C45-BF5B-1C1864FA8AFA}"/>
          </ac:spMkLst>
        </pc:spChg>
        <pc:spChg chg="add mod">
          <ac:chgData name="STEPANCHENKO, D. (Dmitrii)" userId="30c9d29d-ac41-46ff-b2be-c3f5dd1e26e1" providerId="ADAL" clId="{F1089F27-2CA7-4F6B-AF97-026CBAF4CD7A}" dt="2023-02-12T11:30:20.525" v="3529" actId="14100"/>
          <ac:spMkLst>
            <pc:docMk/>
            <pc:sldMk cId="1880343008" sldId="2134806241"/>
            <ac:spMk id="6" creationId="{DA130926-BAA7-BB2F-DAEC-71DCCFC45801}"/>
          </ac:spMkLst>
        </pc:spChg>
        <pc:picChg chg="del">
          <ac:chgData name="STEPANCHENKO, D. (Dmitrii)" userId="30c9d29d-ac41-46ff-b2be-c3f5dd1e26e1" providerId="ADAL" clId="{F1089F27-2CA7-4F6B-AF97-026CBAF4CD7A}" dt="2023-02-12T10:53:42.950" v="3038" actId="478"/>
          <ac:picMkLst>
            <pc:docMk/>
            <pc:sldMk cId="1880343008" sldId="2134806241"/>
            <ac:picMk id="4" creationId="{00000000-0000-0000-0000-000000000000}"/>
          </ac:picMkLst>
        </pc:picChg>
        <pc:picChg chg="add mod">
          <ac:chgData name="STEPANCHENKO, D. (Dmitrii)" userId="30c9d29d-ac41-46ff-b2be-c3f5dd1e26e1" providerId="ADAL" clId="{F1089F27-2CA7-4F6B-AF97-026CBAF4CD7A}" dt="2023-02-12T11:30:43.520" v="3536" actId="1076"/>
          <ac:picMkLst>
            <pc:docMk/>
            <pc:sldMk cId="1880343008" sldId="2134806241"/>
            <ac:picMk id="7" creationId="{51F75B49-D11B-9DB5-BB5C-77281F231475}"/>
          </ac:picMkLst>
        </pc:picChg>
        <pc:picChg chg="add mod">
          <ac:chgData name="STEPANCHENKO, D. (Dmitrii)" userId="30c9d29d-ac41-46ff-b2be-c3f5dd1e26e1" providerId="ADAL" clId="{F1089F27-2CA7-4F6B-AF97-026CBAF4CD7A}" dt="2023-02-12T11:30:39.575" v="3534" actId="1076"/>
          <ac:picMkLst>
            <pc:docMk/>
            <pc:sldMk cId="1880343008" sldId="2134806241"/>
            <ac:picMk id="8" creationId="{D2553FFC-FA84-2DFC-98DE-52BAB70E7BC2}"/>
          </ac:picMkLst>
        </pc:picChg>
      </pc:sldChg>
      <pc:sldChg chg="del">
        <pc:chgData name="STEPANCHENKO, D. (Dmitrii)" userId="30c9d29d-ac41-46ff-b2be-c3f5dd1e26e1" providerId="ADAL" clId="{F1089F27-2CA7-4F6B-AF97-026CBAF4CD7A}" dt="2023-02-10T14:16:03.878" v="550" actId="47"/>
        <pc:sldMkLst>
          <pc:docMk/>
          <pc:sldMk cId="1150082579" sldId="2134806261"/>
        </pc:sldMkLst>
      </pc:sldChg>
      <pc:sldChg chg="del">
        <pc:chgData name="STEPANCHENKO, D. (Dmitrii)" userId="30c9d29d-ac41-46ff-b2be-c3f5dd1e26e1" providerId="ADAL" clId="{F1089F27-2CA7-4F6B-AF97-026CBAF4CD7A}" dt="2023-02-10T14:12:18.826" v="52" actId="47"/>
        <pc:sldMkLst>
          <pc:docMk/>
          <pc:sldMk cId="826615147" sldId="2134806265"/>
        </pc:sldMkLst>
      </pc:sldChg>
      <pc:sldChg chg="del">
        <pc:chgData name="STEPANCHENKO, D. (Dmitrii)" userId="30c9d29d-ac41-46ff-b2be-c3f5dd1e26e1" providerId="ADAL" clId="{F1089F27-2CA7-4F6B-AF97-026CBAF4CD7A}" dt="2023-02-10T14:12:18.826" v="52" actId="47"/>
        <pc:sldMkLst>
          <pc:docMk/>
          <pc:sldMk cId="4146022198" sldId="2134806269"/>
        </pc:sldMkLst>
      </pc:sldChg>
      <pc:sldChg chg="del">
        <pc:chgData name="STEPANCHENKO, D. (Dmitrii)" userId="30c9d29d-ac41-46ff-b2be-c3f5dd1e26e1" providerId="ADAL" clId="{F1089F27-2CA7-4F6B-AF97-026CBAF4CD7A}" dt="2023-02-10T14:12:18.826" v="52" actId="47"/>
        <pc:sldMkLst>
          <pc:docMk/>
          <pc:sldMk cId="1937308450" sldId="2134806270"/>
        </pc:sldMkLst>
      </pc:sldChg>
      <pc:sldChg chg="del">
        <pc:chgData name="STEPANCHENKO, D. (Dmitrii)" userId="30c9d29d-ac41-46ff-b2be-c3f5dd1e26e1" providerId="ADAL" clId="{F1089F27-2CA7-4F6B-AF97-026CBAF4CD7A}" dt="2023-02-10T14:12:18.826" v="52" actId="47"/>
        <pc:sldMkLst>
          <pc:docMk/>
          <pc:sldMk cId="3806807723" sldId="2134806271"/>
        </pc:sldMkLst>
      </pc:sldChg>
      <pc:sldChg chg="modSp del mod">
        <pc:chgData name="STEPANCHENKO, D. (Dmitrii)" userId="30c9d29d-ac41-46ff-b2be-c3f5dd1e26e1" providerId="ADAL" clId="{F1089F27-2CA7-4F6B-AF97-026CBAF4CD7A}" dt="2023-02-10T14:12:18.826" v="52" actId="47"/>
        <pc:sldMkLst>
          <pc:docMk/>
          <pc:sldMk cId="2322687294" sldId="2134806289"/>
        </pc:sldMkLst>
        <pc:spChg chg="mod">
          <ac:chgData name="STEPANCHENKO, D. (Dmitrii)" userId="30c9d29d-ac41-46ff-b2be-c3f5dd1e26e1" providerId="ADAL" clId="{F1089F27-2CA7-4F6B-AF97-026CBAF4CD7A}" dt="2023-02-10T14:10:47.477" v="51" actId="6549"/>
          <ac:spMkLst>
            <pc:docMk/>
            <pc:sldMk cId="2322687294" sldId="2134806289"/>
            <ac:spMk id="4" creationId="{FABF48EB-F5DD-73B7-0214-661762AC84D0}"/>
          </ac:spMkLst>
        </pc:spChg>
      </pc:sldChg>
      <pc:sldChg chg="del">
        <pc:chgData name="STEPANCHENKO, D. (Dmitrii)" userId="30c9d29d-ac41-46ff-b2be-c3f5dd1e26e1" providerId="ADAL" clId="{F1089F27-2CA7-4F6B-AF97-026CBAF4CD7A}" dt="2023-02-10T14:12:18.826" v="52" actId="47"/>
        <pc:sldMkLst>
          <pc:docMk/>
          <pc:sldMk cId="1987294738" sldId="2134806293"/>
        </pc:sldMkLst>
      </pc:sldChg>
      <pc:sldChg chg="del">
        <pc:chgData name="STEPANCHENKO, D. (Dmitrii)" userId="30c9d29d-ac41-46ff-b2be-c3f5dd1e26e1" providerId="ADAL" clId="{F1089F27-2CA7-4F6B-AF97-026CBAF4CD7A}" dt="2023-02-10T14:12:18.826" v="52" actId="47"/>
        <pc:sldMkLst>
          <pc:docMk/>
          <pc:sldMk cId="860713518" sldId="2134806317"/>
        </pc:sldMkLst>
      </pc:sldChg>
      <pc:sldChg chg="addSp delSp modSp mod">
        <pc:chgData name="STEPANCHENKO, D. (Dmitrii)" userId="30c9d29d-ac41-46ff-b2be-c3f5dd1e26e1" providerId="ADAL" clId="{F1089F27-2CA7-4F6B-AF97-026CBAF4CD7A}" dt="2023-02-12T14:00:22.639" v="4795" actId="478"/>
        <pc:sldMkLst>
          <pc:docMk/>
          <pc:sldMk cId="1455295070" sldId="2134806318"/>
        </pc:sldMkLst>
        <pc:spChg chg="add mod">
          <ac:chgData name="STEPANCHENKO, D. (Dmitrii)" userId="30c9d29d-ac41-46ff-b2be-c3f5dd1e26e1" providerId="ADAL" clId="{F1089F27-2CA7-4F6B-AF97-026CBAF4CD7A}" dt="2023-02-12T10:12:18.958" v="2660" actId="20577"/>
          <ac:spMkLst>
            <pc:docMk/>
            <pc:sldMk cId="1455295070" sldId="2134806318"/>
            <ac:spMk id="4" creationId="{78C03241-F245-4623-A41A-659673385123}"/>
          </ac:spMkLst>
        </pc:spChg>
        <pc:spChg chg="mod">
          <ac:chgData name="STEPANCHENKO, D. (Dmitrii)" userId="30c9d29d-ac41-46ff-b2be-c3f5dd1e26e1" providerId="ADAL" clId="{F1089F27-2CA7-4F6B-AF97-026CBAF4CD7A}" dt="2023-02-12T09:02:10.327" v="1128" actId="20577"/>
          <ac:spMkLst>
            <pc:docMk/>
            <pc:sldMk cId="1455295070" sldId="2134806318"/>
            <ac:spMk id="5" creationId="{81BD1123-3626-1C45-BF5B-1C1864FA8AFA}"/>
          </ac:spMkLst>
        </pc:spChg>
        <pc:spChg chg="del">
          <ac:chgData name="STEPANCHENKO, D. (Dmitrii)" userId="30c9d29d-ac41-46ff-b2be-c3f5dd1e26e1" providerId="ADAL" clId="{F1089F27-2CA7-4F6B-AF97-026CBAF4CD7A}" dt="2023-02-10T14:12:26.339" v="53" actId="478"/>
          <ac:spMkLst>
            <pc:docMk/>
            <pc:sldMk cId="1455295070" sldId="2134806318"/>
            <ac:spMk id="7" creationId="{6842C5AA-1AE9-ED6E-50AB-B863FE28CE8D}"/>
          </ac:spMkLst>
        </pc:spChg>
        <pc:spChg chg="del">
          <ac:chgData name="STEPANCHENKO, D. (Dmitrii)" userId="30c9d29d-ac41-46ff-b2be-c3f5dd1e26e1" providerId="ADAL" clId="{F1089F27-2CA7-4F6B-AF97-026CBAF4CD7A}" dt="2023-02-10T14:12:26.339" v="53" actId="478"/>
          <ac:spMkLst>
            <pc:docMk/>
            <pc:sldMk cId="1455295070" sldId="2134806318"/>
            <ac:spMk id="10" creationId="{32728730-626D-0038-35C3-8C916E7BC5BC}"/>
          </ac:spMkLst>
        </pc:spChg>
        <pc:spChg chg="del">
          <ac:chgData name="STEPANCHENKO, D. (Dmitrii)" userId="30c9d29d-ac41-46ff-b2be-c3f5dd1e26e1" providerId="ADAL" clId="{F1089F27-2CA7-4F6B-AF97-026CBAF4CD7A}" dt="2023-02-10T14:12:26.339" v="53" actId="478"/>
          <ac:spMkLst>
            <pc:docMk/>
            <pc:sldMk cId="1455295070" sldId="2134806318"/>
            <ac:spMk id="12" creationId="{4D1E3965-D161-999D-0999-3D1B1364CEA1}"/>
          </ac:spMkLst>
        </pc:spChg>
        <pc:graphicFrameChg chg="del">
          <ac:chgData name="STEPANCHENKO, D. (Dmitrii)" userId="30c9d29d-ac41-46ff-b2be-c3f5dd1e26e1" providerId="ADAL" clId="{F1089F27-2CA7-4F6B-AF97-026CBAF4CD7A}" dt="2023-02-10T14:12:26.339" v="53" actId="478"/>
          <ac:graphicFrameMkLst>
            <pc:docMk/>
            <pc:sldMk cId="1455295070" sldId="2134806318"/>
            <ac:graphicFrameMk id="11" creationId="{D999BAE8-0165-4FA3-822A-4B3110B1E9C9}"/>
          </ac:graphicFrameMkLst>
        </pc:graphicFrameChg>
        <pc:picChg chg="del mod">
          <ac:chgData name="STEPANCHENKO, D. (Dmitrii)" userId="30c9d29d-ac41-46ff-b2be-c3f5dd1e26e1" providerId="ADAL" clId="{F1089F27-2CA7-4F6B-AF97-026CBAF4CD7A}" dt="2023-02-10T14:12:28.770" v="55" actId="478"/>
          <ac:picMkLst>
            <pc:docMk/>
            <pc:sldMk cId="1455295070" sldId="2134806318"/>
            <ac:picMk id="3" creationId="{4A1BF880-AFD7-4B6C-B24B-F5BE9CAF0F4D}"/>
          </ac:picMkLst>
        </pc:picChg>
        <pc:picChg chg="add del">
          <ac:chgData name="STEPANCHENKO, D. (Dmitrii)" userId="30c9d29d-ac41-46ff-b2be-c3f5dd1e26e1" providerId="ADAL" clId="{F1089F27-2CA7-4F6B-AF97-026CBAF4CD7A}" dt="2023-02-12T14:00:22.639" v="4795" actId="478"/>
          <ac:picMkLst>
            <pc:docMk/>
            <pc:sldMk cId="1455295070" sldId="2134806318"/>
            <ac:picMk id="6" creationId="{DF5F0D23-00E6-FF40-BDD5-A23D3F9C9BD6}"/>
          </ac:picMkLst>
        </pc:picChg>
        <pc:picChg chg="del">
          <ac:chgData name="STEPANCHENKO, D. (Dmitrii)" userId="30c9d29d-ac41-46ff-b2be-c3f5dd1e26e1" providerId="ADAL" clId="{F1089F27-2CA7-4F6B-AF97-026CBAF4CD7A}" dt="2023-02-10T14:12:26.339" v="53" actId="478"/>
          <ac:picMkLst>
            <pc:docMk/>
            <pc:sldMk cId="1455295070" sldId="2134806318"/>
            <ac:picMk id="9" creationId="{C3A39222-90C1-4ECB-75D5-5E782010CDE5}"/>
          </ac:picMkLst>
        </pc:picChg>
      </pc:sldChg>
      <pc:sldChg chg="addSp delSp modSp new mod ord">
        <pc:chgData name="STEPANCHENKO, D. (Dmitrii)" userId="30c9d29d-ac41-46ff-b2be-c3f5dd1e26e1" providerId="ADAL" clId="{F1089F27-2CA7-4F6B-AF97-026CBAF4CD7A}" dt="2023-02-12T10:39:10.301" v="2847" actId="478"/>
        <pc:sldMkLst>
          <pc:docMk/>
          <pc:sldMk cId="4090923905" sldId="2134806319"/>
        </pc:sldMkLst>
        <pc:picChg chg="add del mod">
          <ac:chgData name="STEPANCHENKO, D. (Dmitrii)" userId="30c9d29d-ac41-46ff-b2be-c3f5dd1e26e1" providerId="ADAL" clId="{F1089F27-2CA7-4F6B-AF97-026CBAF4CD7A}" dt="2023-02-12T10:39:10.301" v="2847" actId="478"/>
          <ac:picMkLst>
            <pc:docMk/>
            <pc:sldMk cId="4090923905" sldId="2134806319"/>
            <ac:picMk id="4" creationId="{29CA5851-007C-079C-FF94-86DD330C2B2F}"/>
          </ac:picMkLst>
        </pc:picChg>
        <pc:picChg chg="add mod">
          <ac:chgData name="STEPANCHENKO, D. (Dmitrii)" userId="30c9d29d-ac41-46ff-b2be-c3f5dd1e26e1" providerId="ADAL" clId="{F1089F27-2CA7-4F6B-AF97-026CBAF4CD7A}" dt="2023-02-10T14:26:40.304" v="765" actId="1076"/>
          <ac:picMkLst>
            <pc:docMk/>
            <pc:sldMk cId="4090923905" sldId="2134806319"/>
            <ac:picMk id="6" creationId="{1F0177F0-BE16-369E-36F5-483E368F1740}"/>
          </ac:picMkLst>
        </pc:picChg>
        <pc:picChg chg="add mod">
          <ac:chgData name="STEPANCHENKO, D. (Dmitrii)" userId="30c9d29d-ac41-46ff-b2be-c3f5dd1e26e1" providerId="ADAL" clId="{F1089F27-2CA7-4F6B-AF97-026CBAF4CD7A}" dt="2023-02-10T14:26:59.622" v="767" actId="1076"/>
          <ac:picMkLst>
            <pc:docMk/>
            <pc:sldMk cId="4090923905" sldId="2134806319"/>
            <ac:picMk id="8" creationId="{E37221D4-A1B4-F625-ED80-984890A9C27D}"/>
          </ac:picMkLst>
        </pc:picChg>
        <pc:picChg chg="add mod">
          <ac:chgData name="STEPANCHENKO, D. (Dmitrii)" userId="30c9d29d-ac41-46ff-b2be-c3f5dd1e26e1" providerId="ADAL" clId="{F1089F27-2CA7-4F6B-AF97-026CBAF4CD7A}" dt="2023-02-10T14:27:48.721" v="774" actId="1076"/>
          <ac:picMkLst>
            <pc:docMk/>
            <pc:sldMk cId="4090923905" sldId="2134806319"/>
            <ac:picMk id="10" creationId="{B95510D7-4E67-BF8D-BF7C-77F25046700E}"/>
          </ac:picMkLst>
        </pc:picChg>
      </pc:sldChg>
      <pc:sldChg chg="addSp delSp modSp new mod ord modAnim">
        <pc:chgData name="STEPANCHENKO, D. (Dmitrii)" userId="30c9d29d-ac41-46ff-b2be-c3f5dd1e26e1" providerId="ADAL" clId="{F1089F27-2CA7-4F6B-AF97-026CBAF4CD7A}" dt="2023-02-12T14:08:32.614" v="4992" actId="1076"/>
        <pc:sldMkLst>
          <pc:docMk/>
          <pc:sldMk cId="123236843" sldId="2134806320"/>
        </pc:sldMkLst>
        <pc:spChg chg="add mod">
          <ac:chgData name="STEPANCHENKO, D. (Dmitrii)" userId="30c9d29d-ac41-46ff-b2be-c3f5dd1e26e1" providerId="ADAL" clId="{F1089F27-2CA7-4F6B-AF97-026CBAF4CD7A}" dt="2023-02-12T12:17:49.211" v="3718" actId="1076"/>
          <ac:spMkLst>
            <pc:docMk/>
            <pc:sldMk cId="123236843" sldId="2134806320"/>
            <ac:spMk id="5" creationId="{A5099883-2320-2D9A-3BFE-E5C7ECE2D064}"/>
          </ac:spMkLst>
        </pc:spChg>
        <pc:spChg chg="add del">
          <ac:chgData name="STEPANCHENKO, D. (Dmitrii)" userId="30c9d29d-ac41-46ff-b2be-c3f5dd1e26e1" providerId="ADAL" clId="{F1089F27-2CA7-4F6B-AF97-026CBAF4CD7A}" dt="2023-02-12T11:10:09.320" v="3354" actId="22"/>
          <ac:spMkLst>
            <pc:docMk/>
            <pc:sldMk cId="123236843" sldId="2134806320"/>
            <ac:spMk id="9" creationId="{8285A456-9B63-BC2D-509A-6EA82DD04A6F}"/>
          </ac:spMkLst>
        </pc:spChg>
        <pc:spChg chg="add mod">
          <ac:chgData name="STEPANCHENKO, D. (Dmitrii)" userId="30c9d29d-ac41-46ff-b2be-c3f5dd1e26e1" providerId="ADAL" clId="{F1089F27-2CA7-4F6B-AF97-026CBAF4CD7A}" dt="2023-02-12T11:56:46.421" v="3601" actId="20577"/>
          <ac:spMkLst>
            <pc:docMk/>
            <pc:sldMk cId="123236843" sldId="2134806320"/>
            <ac:spMk id="11" creationId="{9BC67766-251F-0718-CD22-17378CAC1413}"/>
          </ac:spMkLst>
        </pc:spChg>
        <pc:spChg chg="add mod">
          <ac:chgData name="STEPANCHENKO, D. (Dmitrii)" userId="30c9d29d-ac41-46ff-b2be-c3f5dd1e26e1" providerId="ADAL" clId="{F1089F27-2CA7-4F6B-AF97-026CBAF4CD7A}" dt="2023-02-12T12:01:26.654" v="3680" actId="20577"/>
          <ac:spMkLst>
            <pc:docMk/>
            <pc:sldMk cId="123236843" sldId="2134806320"/>
            <ac:spMk id="12" creationId="{217EA7F2-25D7-2A32-0670-C376850F40AD}"/>
          </ac:spMkLst>
        </pc:spChg>
        <pc:graphicFrameChg chg="add mod modGraphic">
          <ac:chgData name="STEPANCHENKO, D. (Dmitrii)" userId="30c9d29d-ac41-46ff-b2be-c3f5dd1e26e1" providerId="ADAL" clId="{F1089F27-2CA7-4F6B-AF97-026CBAF4CD7A}" dt="2023-02-12T12:18:39.995" v="3725" actId="20577"/>
          <ac:graphicFrameMkLst>
            <pc:docMk/>
            <pc:sldMk cId="123236843" sldId="2134806320"/>
            <ac:graphicFrameMk id="10" creationId="{7BFD4002-9D15-623A-BD6D-22CC0DDB8901}"/>
          </ac:graphicFrameMkLst>
        </pc:graphicFrameChg>
        <pc:picChg chg="add del mod">
          <ac:chgData name="STEPANCHENKO, D. (Dmitrii)" userId="30c9d29d-ac41-46ff-b2be-c3f5dd1e26e1" providerId="ADAL" clId="{F1089F27-2CA7-4F6B-AF97-026CBAF4CD7A}" dt="2023-02-12T11:06:15.176" v="3293" actId="21"/>
          <ac:picMkLst>
            <pc:docMk/>
            <pc:sldMk cId="123236843" sldId="2134806320"/>
            <ac:picMk id="4" creationId="{D12123B8-BC8A-7B3F-E200-41D0DF451F2F}"/>
          </ac:picMkLst>
        </pc:picChg>
        <pc:picChg chg="add del mod">
          <ac:chgData name="STEPANCHENKO, D. (Dmitrii)" userId="30c9d29d-ac41-46ff-b2be-c3f5dd1e26e1" providerId="ADAL" clId="{F1089F27-2CA7-4F6B-AF97-026CBAF4CD7A}" dt="2023-02-12T11:06:15.176" v="3293" actId="21"/>
          <ac:picMkLst>
            <pc:docMk/>
            <pc:sldMk cId="123236843" sldId="2134806320"/>
            <ac:picMk id="6" creationId="{DCAF4A99-CB4A-01FD-71B1-52879FD609C6}"/>
          </ac:picMkLst>
        </pc:picChg>
        <pc:picChg chg="add del mod">
          <ac:chgData name="STEPANCHENKO, D. (Dmitrii)" userId="30c9d29d-ac41-46ff-b2be-c3f5dd1e26e1" providerId="ADAL" clId="{F1089F27-2CA7-4F6B-AF97-026CBAF4CD7A}" dt="2023-02-12T11:06:15.176" v="3293" actId="21"/>
          <ac:picMkLst>
            <pc:docMk/>
            <pc:sldMk cId="123236843" sldId="2134806320"/>
            <ac:picMk id="8" creationId="{CB36CE0D-EAC3-50E4-32B4-29553841EF81}"/>
          </ac:picMkLst>
        </pc:picChg>
        <pc:picChg chg="add mod">
          <ac:chgData name="STEPANCHENKO, D. (Dmitrii)" userId="30c9d29d-ac41-46ff-b2be-c3f5dd1e26e1" providerId="ADAL" clId="{F1089F27-2CA7-4F6B-AF97-026CBAF4CD7A}" dt="2023-02-12T14:08:32.614" v="4992" actId="1076"/>
          <ac:picMkLst>
            <pc:docMk/>
            <pc:sldMk cId="123236843" sldId="2134806320"/>
            <ac:picMk id="14" creationId="{1D3EDC59-B52B-DD64-2CA0-DEB986A832EA}"/>
          </ac:picMkLst>
        </pc:picChg>
      </pc:sldChg>
      <pc:sldChg chg="del">
        <pc:chgData name="STEPANCHENKO, D. (Dmitrii)" userId="30c9d29d-ac41-46ff-b2be-c3f5dd1e26e1" providerId="ADAL" clId="{F1089F27-2CA7-4F6B-AF97-026CBAF4CD7A}" dt="2023-02-10T14:12:18.826" v="52" actId="47"/>
        <pc:sldMkLst>
          <pc:docMk/>
          <pc:sldMk cId="328194484" sldId="2134806320"/>
        </pc:sldMkLst>
      </pc:sldChg>
      <pc:sldChg chg="del">
        <pc:chgData name="STEPANCHENKO, D. (Dmitrii)" userId="30c9d29d-ac41-46ff-b2be-c3f5dd1e26e1" providerId="ADAL" clId="{F1089F27-2CA7-4F6B-AF97-026CBAF4CD7A}" dt="2023-02-10T14:12:18.826" v="52" actId="47"/>
        <pc:sldMkLst>
          <pc:docMk/>
          <pc:sldMk cId="931874431" sldId="2134806321"/>
        </pc:sldMkLst>
      </pc:sldChg>
      <pc:sldChg chg="addSp modSp new mod">
        <pc:chgData name="STEPANCHENKO, D. (Dmitrii)" userId="30c9d29d-ac41-46ff-b2be-c3f5dd1e26e1" providerId="ADAL" clId="{F1089F27-2CA7-4F6B-AF97-026CBAF4CD7A}" dt="2023-02-10T14:30:22.037" v="791" actId="1076"/>
        <pc:sldMkLst>
          <pc:docMk/>
          <pc:sldMk cId="3981094662" sldId="2134806321"/>
        </pc:sldMkLst>
        <pc:picChg chg="add mod">
          <ac:chgData name="STEPANCHENKO, D. (Dmitrii)" userId="30c9d29d-ac41-46ff-b2be-c3f5dd1e26e1" providerId="ADAL" clId="{F1089F27-2CA7-4F6B-AF97-026CBAF4CD7A}" dt="2023-02-10T14:29:51.092" v="789" actId="1076"/>
          <ac:picMkLst>
            <pc:docMk/>
            <pc:sldMk cId="3981094662" sldId="2134806321"/>
            <ac:picMk id="4" creationId="{6215F474-0251-B921-CAD7-7573EA592D1E}"/>
          </ac:picMkLst>
        </pc:picChg>
        <pc:picChg chg="add mod">
          <ac:chgData name="STEPANCHENKO, D. (Dmitrii)" userId="30c9d29d-ac41-46ff-b2be-c3f5dd1e26e1" providerId="ADAL" clId="{F1089F27-2CA7-4F6B-AF97-026CBAF4CD7A}" dt="2023-02-10T14:30:22.037" v="791" actId="1076"/>
          <ac:picMkLst>
            <pc:docMk/>
            <pc:sldMk cId="3981094662" sldId="2134806321"/>
            <ac:picMk id="6" creationId="{C3279629-4B89-F4AC-9F1A-52E1121A1AD9}"/>
          </ac:picMkLst>
        </pc:picChg>
      </pc:sldChg>
      <pc:sldChg chg="del">
        <pc:chgData name="STEPANCHENKO, D. (Dmitrii)" userId="30c9d29d-ac41-46ff-b2be-c3f5dd1e26e1" providerId="ADAL" clId="{F1089F27-2CA7-4F6B-AF97-026CBAF4CD7A}" dt="2023-02-10T14:12:18.826" v="52" actId="47"/>
        <pc:sldMkLst>
          <pc:docMk/>
          <pc:sldMk cId="2401638851" sldId="2134806322"/>
        </pc:sldMkLst>
      </pc:sldChg>
      <pc:sldChg chg="addSp modSp add mod ord">
        <pc:chgData name="STEPANCHENKO, D. (Dmitrii)" userId="30c9d29d-ac41-46ff-b2be-c3f5dd1e26e1" providerId="ADAL" clId="{F1089F27-2CA7-4F6B-AF97-026CBAF4CD7A}" dt="2023-02-10T15:11:29.950" v="934"/>
        <pc:sldMkLst>
          <pc:docMk/>
          <pc:sldMk cId="3505165302" sldId="2134806322"/>
        </pc:sldMkLst>
        <pc:spChg chg="add mod">
          <ac:chgData name="STEPANCHENKO, D. (Dmitrii)" userId="30c9d29d-ac41-46ff-b2be-c3f5dd1e26e1" providerId="ADAL" clId="{F1089F27-2CA7-4F6B-AF97-026CBAF4CD7A}" dt="2023-02-10T15:11:24.031" v="932" actId="20577"/>
          <ac:spMkLst>
            <pc:docMk/>
            <pc:sldMk cId="3505165302" sldId="2134806322"/>
            <ac:spMk id="3" creationId="{F89881EB-3DBB-C75D-2DC9-EE910F1536E7}"/>
          </ac:spMkLst>
        </pc:spChg>
      </pc:sldChg>
      <pc:sldChg chg="addSp modSp new mod">
        <pc:chgData name="STEPANCHENKO, D. (Dmitrii)" userId="30c9d29d-ac41-46ff-b2be-c3f5dd1e26e1" providerId="ADAL" clId="{F1089F27-2CA7-4F6B-AF97-026CBAF4CD7A}" dt="2023-02-10T15:12:17.133" v="937" actId="1076"/>
        <pc:sldMkLst>
          <pc:docMk/>
          <pc:sldMk cId="611908845" sldId="2134806323"/>
        </pc:sldMkLst>
        <pc:picChg chg="add mod">
          <ac:chgData name="STEPANCHENKO, D. (Dmitrii)" userId="30c9d29d-ac41-46ff-b2be-c3f5dd1e26e1" providerId="ADAL" clId="{F1089F27-2CA7-4F6B-AF97-026CBAF4CD7A}" dt="2023-02-10T15:12:17.133" v="937" actId="1076"/>
          <ac:picMkLst>
            <pc:docMk/>
            <pc:sldMk cId="611908845" sldId="2134806323"/>
            <ac:picMk id="4" creationId="{7832E325-70EE-5A91-6F58-0257386D12BD}"/>
          </ac:picMkLst>
        </pc:picChg>
      </pc:sldChg>
      <pc:sldChg chg="del">
        <pc:chgData name="STEPANCHENKO, D. (Dmitrii)" userId="30c9d29d-ac41-46ff-b2be-c3f5dd1e26e1" providerId="ADAL" clId="{F1089F27-2CA7-4F6B-AF97-026CBAF4CD7A}" dt="2023-02-10T14:12:18.826" v="52" actId="47"/>
        <pc:sldMkLst>
          <pc:docMk/>
          <pc:sldMk cId="2685767378" sldId="2134806323"/>
        </pc:sldMkLst>
      </pc:sldChg>
      <pc:sldChg chg="addSp modSp new mod">
        <pc:chgData name="STEPANCHENKO, D. (Dmitrii)" userId="30c9d29d-ac41-46ff-b2be-c3f5dd1e26e1" providerId="ADAL" clId="{F1089F27-2CA7-4F6B-AF97-026CBAF4CD7A}" dt="2023-02-10T15:15:32.886" v="940" actId="1076"/>
        <pc:sldMkLst>
          <pc:docMk/>
          <pc:sldMk cId="3515820768" sldId="2134806324"/>
        </pc:sldMkLst>
        <pc:picChg chg="add mod">
          <ac:chgData name="STEPANCHENKO, D. (Dmitrii)" userId="30c9d29d-ac41-46ff-b2be-c3f5dd1e26e1" providerId="ADAL" clId="{F1089F27-2CA7-4F6B-AF97-026CBAF4CD7A}" dt="2023-02-10T15:15:32.886" v="940" actId="1076"/>
          <ac:picMkLst>
            <pc:docMk/>
            <pc:sldMk cId="3515820768" sldId="2134806324"/>
            <ac:picMk id="4" creationId="{7DA79001-7EF9-81AD-FF4D-BB6EED59EDCD}"/>
          </ac:picMkLst>
        </pc:picChg>
      </pc:sldChg>
      <pc:sldChg chg="addSp modSp new mod">
        <pc:chgData name="STEPANCHENKO, D. (Dmitrii)" userId="30c9d29d-ac41-46ff-b2be-c3f5dd1e26e1" providerId="ADAL" clId="{F1089F27-2CA7-4F6B-AF97-026CBAF4CD7A}" dt="2023-02-10T15:15:51.419" v="989" actId="20577"/>
        <pc:sldMkLst>
          <pc:docMk/>
          <pc:sldMk cId="1681901787" sldId="2134806325"/>
        </pc:sldMkLst>
        <pc:spChg chg="add mod">
          <ac:chgData name="STEPANCHENKO, D. (Dmitrii)" userId="30c9d29d-ac41-46ff-b2be-c3f5dd1e26e1" providerId="ADAL" clId="{F1089F27-2CA7-4F6B-AF97-026CBAF4CD7A}" dt="2023-02-10T15:15:51.419" v="989" actId="20577"/>
          <ac:spMkLst>
            <pc:docMk/>
            <pc:sldMk cId="1681901787" sldId="2134806325"/>
            <ac:spMk id="3" creationId="{A095CF58-4CFE-EC88-895C-5AB91906BD6D}"/>
          </ac:spMkLst>
        </pc:spChg>
      </pc:sldChg>
      <pc:sldChg chg="del">
        <pc:chgData name="STEPANCHENKO, D. (Dmitrii)" userId="30c9d29d-ac41-46ff-b2be-c3f5dd1e26e1" providerId="ADAL" clId="{F1089F27-2CA7-4F6B-AF97-026CBAF4CD7A}" dt="2023-02-10T14:12:18.826" v="52" actId="47"/>
        <pc:sldMkLst>
          <pc:docMk/>
          <pc:sldMk cId="521703837" sldId="2134806326"/>
        </pc:sldMkLst>
      </pc:sldChg>
      <pc:sldChg chg="new">
        <pc:chgData name="STEPANCHENKO, D. (Dmitrii)" userId="30c9d29d-ac41-46ff-b2be-c3f5dd1e26e1" providerId="ADAL" clId="{F1089F27-2CA7-4F6B-AF97-026CBAF4CD7A}" dt="2023-02-10T15:15:54.652" v="990" actId="680"/>
        <pc:sldMkLst>
          <pc:docMk/>
          <pc:sldMk cId="1035378868" sldId="2134806326"/>
        </pc:sldMkLst>
      </pc:sldChg>
      <pc:sldChg chg="del">
        <pc:chgData name="STEPANCHENKO, D. (Dmitrii)" userId="30c9d29d-ac41-46ff-b2be-c3f5dd1e26e1" providerId="ADAL" clId="{F1089F27-2CA7-4F6B-AF97-026CBAF4CD7A}" dt="2023-02-10T14:12:18.826" v="52" actId="47"/>
        <pc:sldMkLst>
          <pc:docMk/>
          <pc:sldMk cId="1383993538" sldId="2134806327"/>
        </pc:sldMkLst>
      </pc:sldChg>
      <pc:sldChg chg="new">
        <pc:chgData name="STEPANCHENKO, D. (Dmitrii)" userId="30c9d29d-ac41-46ff-b2be-c3f5dd1e26e1" providerId="ADAL" clId="{F1089F27-2CA7-4F6B-AF97-026CBAF4CD7A}" dt="2023-02-10T15:15:54.836" v="991" actId="680"/>
        <pc:sldMkLst>
          <pc:docMk/>
          <pc:sldMk cId="3546147866" sldId="2134806327"/>
        </pc:sldMkLst>
      </pc:sldChg>
      <pc:sldChg chg="new">
        <pc:chgData name="STEPANCHENKO, D. (Dmitrii)" userId="30c9d29d-ac41-46ff-b2be-c3f5dd1e26e1" providerId="ADAL" clId="{F1089F27-2CA7-4F6B-AF97-026CBAF4CD7A}" dt="2023-02-10T15:15:54.991" v="992" actId="680"/>
        <pc:sldMkLst>
          <pc:docMk/>
          <pc:sldMk cId="2188507405" sldId="2134806328"/>
        </pc:sldMkLst>
      </pc:sldChg>
      <pc:sldChg chg="modSp del mod">
        <pc:chgData name="STEPANCHENKO, D. (Dmitrii)" userId="30c9d29d-ac41-46ff-b2be-c3f5dd1e26e1" providerId="ADAL" clId="{F1089F27-2CA7-4F6B-AF97-026CBAF4CD7A}" dt="2023-02-10T14:12:18.826" v="52" actId="47"/>
        <pc:sldMkLst>
          <pc:docMk/>
          <pc:sldMk cId="3352262577" sldId="2134806328"/>
        </pc:sldMkLst>
        <pc:graphicFrameChg chg="mod modGraphic">
          <ac:chgData name="STEPANCHENKO, D. (Dmitrii)" userId="30c9d29d-ac41-46ff-b2be-c3f5dd1e26e1" providerId="ADAL" clId="{F1089F27-2CA7-4F6B-AF97-026CBAF4CD7A}" dt="2023-02-10T14:09:36.479" v="10" actId="20577"/>
          <ac:graphicFrameMkLst>
            <pc:docMk/>
            <pc:sldMk cId="3352262577" sldId="2134806328"/>
            <ac:graphicFrameMk id="14" creationId="{C5F7A9A8-78D1-454D-96FA-2A934AA6F49F}"/>
          </ac:graphicFrameMkLst>
        </pc:graphicFrameChg>
      </pc:sldChg>
      <pc:sldChg chg="del">
        <pc:chgData name="STEPANCHENKO, D. (Dmitrii)" userId="30c9d29d-ac41-46ff-b2be-c3f5dd1e26e1" providerId="ADAL" clId="{F1089F27-2CA7-4F6B-AF97-026CBAF4CD7A}" dt="2023-02-10T14:12:18.826" v="52" actId="47"/>
        <pc:sldMkLst>
          <pc:docMk/>
          <pc:sldMk cId="3274818839" sldId="2134806329"/>
        </pc:sldMkLst>
      </pc:sldChg>
      <pc:sldChg chg="addSp delSp modSp new mod">
        <pc:chgData name="STEPANCHENKO, D. (Dmitrii)" userId="30c9d29d-ac41-46ff-b2be-c3f5dd1e26e1" providerId="ADAL" clId="{F1089F27-2CA7-4F6B-AF97-026CBAF4CD7A}" dt="2023-02-12T12:41:47.759" v="4280" actId="20577"/>
        <pc:sldMkLst>
          <pc:docMk/>
          <pc:sldMk cId="4288962585" sldId="2134806329"/>
        </pc:sldMkLst>
        <pc:spChg chg="add mod">
          <ac:chgData name="STEPANCHENKO, D. (Dmitrii)" userId="30c9d29d-ac41-46ff-b2be-c3f5dd1e26e1" providerId="ADAL" clId="{F1089F27-2CA7-4F6B-AF97-026CBAF4CD7A}" dt="2023-02-12T10:36:04.885" v="2691" actId="20577"/>
          <ac:spMkLst>
            <pc:docMk/>
            <pc:sldMk cId="4288962585" sldId="2134806329"/>
            <ac:spMk id="3" creationId="{B0B1E3C9-3E00-7AF5-9C86-3E21886F5EB9}"/>
          </ac:spMkLst>
        </pc:spChg>
        <pc:spChg chg="add mod">
          <ac:chgData name="STEPANCHENKO, D. (Dmitrii)" userId="30c9d29d-ac41-46ff-b2be-c3f5dd1e26e1" providerId="ADAL" clId="{F1089F27-2CA7-4F6B-AF97-026CBAF4CD7A}" dt="2023-02-12T12:41:47.759" v="4280" actId="20577"/>
          <ac:spMkLst>
            <pc:docMk/>
            <pc:sldMk cId="4288962585" sldId="2134806329"/>
            <ac:spMk id="4" creationId="{068959D8-736E-2816-3A1C-C1169815369D}"/>
          </ac:spMkLst>
        </pc:spChg>
        <pc:graphicFrameChg chg="add del mod modGraphic">
          <ac:chgData name="STEPANCHENKO, D. (Dmitrii)" userId="30c9d29d-ac41-46ff-b2be-c3f5dd1e26e1" providerId="ADAL" clId="{F1089F27-2CA7-4F6B-AF97-026CBAF4CD7A}" dt="2023-02-12T11:20:17.024" v="3434" actId="478"/>
          <ac:graphicFrameMkLst>
            <pc:docMk/>
            <pc:sldMk cId="4288962585" sldId="2134806329"/>
            <ac:graphicFrameMk id="12" creationId="{8A7D4D7E-3632-472C-027F-6AB4630EB5F8}"/>
          </ac:graphicFrameMkLst>
        </pc:graphicFrameChg>
        <pc:picChg chg="add del mod">
          <ac:chgData name="STEPANCHENKO, D. (Dmitrii)" userId="30c9d29d-ac41-46ff-b2be-c3f5dd1e26e1" providerId="ADAL" clId="{F1089F27-2CA7-4F6B-AF97-026CBAF4CD7A}" dt="2023-02-12T10:37:48.790" v="2842" actId="478"/>
          <ac:picMkLst>
            <pc:docMk/>
            <pc:sldMk cId="4288962585" sldId="2134806329"/>
            <ac:picMk id="5" creationId="{40757F73-10D0-A2E4-CB52-DDFD81EF4C5A}"/>
          </ac:picMkLst>
        </pc:picChg>
        <pc:picChg chg="add del mod">
          <ac:chgData name="STEPANCHENKO, D. (Dmitrii)" userId="30c9d29d-ac41-46ff-b2be-c3f5dd1e26e1" providerId="ADAL" clId="{F1089F27-2CA7-4F6B-AF97-026CBAF4CD7A}" dt="2023-02-12T10:54:00.246" v="3069" actId="478"/>
          <ac:picMkLst>
            <pc:docMk/>
            <pc:sldMk cId="4288962585" sldId="2134806329"/>
            <ac:picMk id="7" creationId="{16D31641-65F0-FABF-3DED-8DA4073EB92E}"/>
          </ac:picMkLst>
        </pc:picChg>
        <pc:picChg chg="add del mod">
          <ac:chgData name="STEPANCHENKO, D. (Dmitrii)" userId="30c9d29d-ac41-46ff-b2be-c3f5dd1e26e1" providerId="ADAL" clId="{F1089F27-2CA7-4F6B-AF97-026CBAF4CD7A}" dt="2023-02-12T11:01:03.336" v="3231" actId="21"/>
          <ac:picMkLst>
            <pc:docMk/>
            <pc:sldMk cId="4288962585" sldId="2134806329"/>
            <ac:picMk id="8" creationId="{432D6E13-48B5-3E4B-DB57-CA1158E8AEDC}"/>
          </ac:picMkLst>
        </pc:picChg>
        <pc:picChg chg="add del mod">
          <ac:chgData name="STEPANCHENKO, D. (Dmitrii)" userId="30c9d29d-ac41-46ff-b2be-c3f5dd1e26e1" providerId="ADAL" clId="{F1089F27-2CA7-4F6B-AF97-026CBAF4CD7A}" dt="2023-02-12T11:01:03.336" v="3231" actId="21"/>
          <ac:picMkLst>
            <pc:docMk/>
            <pc:sldMk cId="4288962585" sldId="2134806329"/>
            <ac:picMk id="9" creationId="{595F6225-4CC2-DDAF-D2FD-89FD4C6EDC9C}"/>
          </ac:picMkLst>
        </pc:picChg>
        <pc:picChg chg="add del mod">
          <ac:chgData name="STEPANCHENKO, D. (Dmitrii)" userId="30c9d29d-ac41-46ff-b2be-c3f5dd1e26e1" providerId="ADAL" clId="{F1089F27-2CA7-4F6B-AF97-026CBAF4CD7A}" dt="2023-02-12T11:59:14.818" v="3629" actId="478"/>
          <ac:picMkLst>
            <pc:docMk/>
            <pc:sldMk cId="4288962585" sldId="2134806329"/>
            <ac:picMk id="11" creationId="{69F4E6B5-FCC5-0E40-19A8-F4184D11C267}"/>
          </ac:picMkLst>
        </pc:picChg>
        <pc:picChg chg="add del mod">
          <ac:chgData name="STEPANCHENKO, D. (Dmitrii)" userId="30c9d29d-ac41-46ff-b2be-c3f5dd1e26e1" providerId="ADAL" clId="{F1089F27-2CA7-4F6B-AF97-026CBAF4CD7A}" dt="2023-02-12T11:20:22.640" v="3435" actId="478"/>
          <ac:picMkLst>
            <pc:docMk/>
            <pc:sldMk cId="4288962585" sldId="2134806329"/>
            <ac:picMk id="13" creationId="{80BCE9D9-9C5C-BED4-BBCC-732EAB42AC15}"/>
          </ac:picMkLst>
        </pc:picChg>
        <pc:picChg chg="add del mod">
          <ac:chgData name="STEPANCHENKO, D. (Dmitrii)" userId="30c9d29d-ac41-46ff-b2be-c3f5dd1e26e1" providerId="ADAL" clId="{F1089F27-2CA7-4F6B-AF97-026CBAF4CD7A}" dt="2023-02-12T11:20:22.640" v="3435" actId="478"/>
          <ac:picMkLst>
            <pc:docMk/>
            <pc:sldMk cId="4288962585" sldId="2134806329"/>
            <ac:picMk id="14" creationId="{27A1080C-61F7-2C34-8DD1-1347D5968D44}"/>
          </ac:picMkLst>
        </pc:picChg>
        <pc:picChg chg="add del mod">
          <ac:chgData name="STEPANCHENKO, D. (Dmitrii)" userId="30c9d29d-ac41-46ff-b2be-c3f5dd1e26e1" providerId="ADAL" clId="{F1089F27-2CA7-4F6B-AF97-026CBAF4CD7A}" dt="2023-02-12T11:20:22.640" v="3435" actId="478"/>
          <ac:picMkLst>
            <pc:docMk/>
            <pc:sldMk cId="4288962585" sldId="2134806329"/>
            <ac:picMk id="15" creationId="{A9EE6338-832A-8B52-FF78-DB1BFA182C9B}"/>
          </ac:picMkLst>
        </pc:picChg>
        <pc:picChg chg="add mod">
          <ac:chgData name="STEPANCHENKO, D. (Dmitrii)" userId="30c9d29d-ac41-46ff-b2be-c3f5dd1e26e1" providerId="ADAL" clId="{F1089F27-2CA7-4F6B-AF97-026CBAF4CD7A}" dt="2023-02-12T11:59:08.376" v="3627" actId="1076"/>
          <ac:picMkLst>
            <pc:docMk/>
            <pc:sldMk cId="4288962585" sldId="2134806329"/>
            <ac:picMk id="16" creationId="{DB5F0744-59FD-4CDC-4B55-78CFFC68CCAD}"/>
          </ac:picMkLst>
        </pc:picChg>
        <pc:picChg chg="add mod">
          <ac:chgData name="STEPANCHENKO, D. (Dmitrii)" userId="30c9d29d-ac41-46ff-b2be-c3f5dd1e26e1" providerId="ADAL" clId="{F1089F27-2CA7-4F6B-AF97-026CBAF4CD7A}" dt="2023-02-12T11:59:13.029" v="3628" actId="1076"/>
          <ac:picMkLst>
            <pc:docMk/>
            <pc:sldMk cId="4288962585" sldId="2134806329"/>
            <ac:picMk id="17" creationId="{D2C09292-869E-8C29-C616-4F56600C50F1}"/>
          </ac:picMkLst>
        </pc:picChg>
      </pc:sldChg>
      <pc:sldChg chg="addSp delSp modSp add mod modAnim">
        <pc:chgData name="STEPANCHENKO, D. (Dmitrii)" userId="30c9d29d-ac41-46ff-b2be-c3f5dd1e26e1" providerId="ADAL" clId="{F1089F27-2CA7-4F6B-AF97-026CBAF4CD7A}" dt="2023-02-12T14:18:03.215" v="5144" actId="20577"/>
        <pc:sldMkLst>
          <pc:docMk/>
          <pc:sldMk cId="207440382" sldId="2134806330"/>
        </pc:sldMkLst>
        <pc:spChg chg="mod">
          <ac:chgData name="STEPANCHENKO, D. (Dmitrii)" userId="30c9d29d-ac41-46ff-b2be-c3f5dd1e26e1" providerId="ADAL" clId="{F1089F27-2CA7-4F6B-AF97-026CBAF4CD7A}" dt="2023-02-12T14:18:03.215" v="5144" actId="20577"/>
          <ac:spMkLst>
            <pc:docMk/>
            <pc:sldMk cId="207440382" sldId="2134806330"/>
            <ac:spMk id="3" creationId="{B0B1E3C9-3E00-7AF5-9C86-3E21886F5EB9}"/>
          </ac:spMkLst>
        </pc:spChg>
        <pc:spChg chg="del">
          <ac:chgData name="STEPANCHENKO, D. (Dmitrii)" userId="30c9d29d-ac41-46ff-b2be-c3f5dd1e26e1" providerId="ADAL" clId="{F1089F27-2CA7-4F6B-AF97-026CBAF4CD7A}" dt="2023-02-12T11:59:57.553" v="3635" actId="478"/>
          <ac:spMkLst>
            <pc:docMk/>
            <pc:sldMk cId="207440382" sldId="2134806330"/>
            <ac:spMk id="4" creationId="{068959D8-736E-2816-3A1C-C1169815369D}"/>
          </ac:spMkLst>
        </pc:spChg>
        <pc:spChg chg="add del mod">
          <ac:chgData name="STEPANCHENKO, D. (Dmitrii)" userId="30c9d29d-ac41-46ff-b2be-c3f5dd1e26e1" providerId="ADAL" clId="{F1089F27-2CA7-4F6B-AF97-026CBAF4CD7A}" dt="2023-02-12T12:31:57.281" v="3739" actId="478"/>
          <ac:spMkLst>
            <pc:docMk/>
            <pc:sldMk cId="207440382" sldId="2134806330"/>
            <ac:spMk id="5" creationId="{2635FA7D-4BC7-A0BF-6B11-F49E20FE180A}"/>
          </ac:spMkLst>
        </pc:spChg>
        <pc:spChg chg="add del mod">
          <ac:chgData name="STEPANCHENKO, D. (Dmitrii)" userId="30c9d29d-ac41-46ff-b2be-c3f5dd1e26e1" providerId="ADAL" clId="{F1089F27-2CA7-4F6B-AF97-026CBAF4CD7A}" dt="2023-02-12T12:37:48.600" v="3966" actId="478"/>
          <ac:spMkLst>
            <pc:docMk/>
            <pc:sldMk cId="207440382" sldId="2134806330"/>
            <ac:spMk id="6" creationId="{36E3A7F9-E588-8D3E-F016-B91FA901FA35}"/>
          </ac:spMkLst>
        </pc:spChg>
        <pc:spChg chg="add mod">
          <ac:chgData name="STEPANCHENKO, D. (Dmitrii)" userId="30c9d29d-ac41-46ff-b2be-c3f5dd1e26e1" providerId="ADAL" clId="{F1089F27-2CA7-4F6B-AF97-026CBAF4CD7A}" dt="2023-02-12T12:52:47.202" v="4669" actId="20577"/>
          <ac:spMkLst>
            <pc:docMk/>
            <pc:sldMk cId="207440382" sldId="2134806330"/>
            <ac:spMk id="8" creationId="{B130A157-3EF0-D796-DA89-096BFAE43CBC}"/>
          </ac:spMkLst>
        </pc:spChg>
        <pc:spChg chg="add del mod">
          <ac:chgData name="STEPANCHENKO, D. (Dmitrii)" userId="30c9d29d-ac41-46ff-b2be-c3f5dd1e26e1" providerId="ADAL" clId="{F1089F27-2CA7-4F6B-AF97-026CBAF4CD7A}" dt="2023-02-12T12:35:53.447" v="3829"/>
          <ac:spMkLst>
            <pc:docMk/>
            <pc:sldMk cId="207440382" sldId="2134806330"/>
            <ac:spMk id="10" creationId="{604280CD-55F9-2B75-E39C-409CD893519E}"/>
          </ac:spMkLst>
        </pc:spChg>
        <pc:picChg chg="add mod">
          <ac:chgData name="STEPANCHENKO, D. (Dmitrii)" userId="30c9d29d-ac41-46ff-b2be-c3f5dd1e26e1" providerId="ADAL" clId="{F1089F27-2CA7-4F6B-AF97-026CBAF4CD7A}" dt="2023-02-12T12:52:51.852" v="4670" actId="1076"/>
          <ac:picMkLst>
            <pc:docMk/>
            <pc:sldMk cId="207440382" sldId="2134806330"/>
            <ac:picMk id="11" creationId="{CC93434C-2656-56A8-A809-6A341D842338}"/>
          </ac:picMkLst>
        </pc:picChg>
      </pc:sldChg>
      <pc:sldChg chg="del">
        <pc:chgData name="STEPANCHENKO, D. (Dmitrii)" userId="30c9d29d-ac41-46ff-b2be-c3f5dd1e26e1" providerId="ADAL" clId="{F1089F27-2CA7-4F6B-AF97-026CBAF4CD7A}" dt="2023-02-10T14:12:18.826" v="52" actId="47"/>
        <pc:sldMkLst>
          <pc:docMk/>
          <pc:sldMk cId="3089211194" sldId="2134806330"/>
        </pc:sldMkLst>
      </pc:sldChg>
      <pc:sldChg chg="addSp delSp modSp add mod">
        <pc:chgData name="STEPANCHENKO, D. (Dmitrii)" userId="30c9d29d-ac41-46ff-b2be-c3f5dd1e26e1" providerId="ADAL" clId="{F1089F27-2CA7-4F6B-AF97-026CBAF4CD7A}" dt="2023-02-12T14:22:55.654" v="5580" actId="113"/>
        <pc:sldMkLst>
          <pc:docMk/>
          <pc:sldMk cId="2227863510" sldId="2134806331"/>
        </pc:sldMkLst>
        <pc:spChg chg="mod">
          <ac:chgData name="STEPANCHENKO, D. (Dmitrii)" userId="30c9d29d-ac41-46ff-b2be-c3f5dd1e26e1" providerId="ADAL" clId="{F1089F27-2CA7-4F6B-AF97-026CBAF4CD7A}" dt="2023-02-12T14:18:07.554" v="5147" actId="20577"/>
          <ac:spMkLst>
            <pc:docMk/>
            <pc:sldMk cId="2227863510" sldId="2134806331"/>
            <ac:spMk id="3" creationId="{B0B1E3C9-3E00-7AF5-9C86-3E21886F5EB9}"/>
          </ac:spMkLst>
        </pc:spChg>
        <pc:spChg chg="del">
          <ac:chgData name="STEPANCHENKO, D. (Dmitrii)" userId="30c9d29d-ac41-46ff-b2be-c3f5dd1e26e1" providerId="ADAL" clId="{F1089F27-2CA7-4F6B-AF97-026CBAF4CD7A}" dt="2023-02-12T12:00:02.578" v="3636" actId="478"/>
          <ac:spMkLst>
            <pc:docMk/>
            <pc:sldMk cId="2227863510" sldId="2134806331"/>
            <ac:spMk id="4" creationId="{068959D8-736E-2816-3A1C-C1169815369D}"/>
          </ac:spMkLst>
        </pc:spChg>
        <pc:spChg chg="add mod">
          <ac:chgData name="STEPANCHENKO, D. (Dmitrii)" userId="30c9d29d-ac41-46ff-b2be-c3f5dd1e26e1" providerId="ADAL" clId="{F1089F27-2CA7-4F6B-AF97-026CBAF4CD7A}" dt="2023-02-12T14:22:55.654" v="5580" actId="113"/>
          <ac:spMkLst>
            <pc:docMk/>
            <pc:sldMk cId="2227863510" sldId="2134806331"/>
            <ac:spMk id="6" creationId="{89C5E2C8-0113-4940-5D12-CA6A1E57CC5A}"/>
          </ac:spMkLst>
        </pc:spChg>
        <pc:spChg chg="add del">
          <ac:chgData name="STEPANCHENKO, D. (Dmitrii)" userId="30c9d29d-ac41-46ff-b2be-c3f5dd1e26e1" providerId="ADAL" clId="{F1089F27-2CA7-4F6B-AF97-026CBAF4CD7A}" dt="2023-02-12T13:50:55.253" v="4752" actId="22"/>
          <ac:spMkLst>
            <pc:docMk/>
            <pc:sldMk cId="2227863510" sldId="2134806331"/>
            <ac:spMk id="8" creationId="{9C68510F-C554-A122-D552-4F2031AEE543}"/>
          </ac:spMkLst>
        </pc:spChg>
        <pc:spChg chg="add del">
          <ac:chgData name="STEPANCHENKO, D. (Dmitrii)" userId="30c9d29d-ac41-46ff-b2be-c3f5dd1e26e1" providerId="ADAL" clId="{F1089F27-2CA7-4F6B-AF97-026CBAF4CD7A}" dt="2023-02-12T13:50:57.664" v="4754" actId="22"/>
          <ac:spMkLst>
            <pc:docMk/>
            <pc:sldMk cId="2227863510" sldId="2134806331"/>
            <ac:spMk id="10" creationId="{AA426D92-504D-F221-56F9-0018577245D8}"/>
          </ac:spMkLst>
        </pc:spChg>
        <pc:spChg chg="add mod">
          <ac:chgData name="STEPANCHENKO, D. (Dmitrii)" userId="30c9d29d-ac41-46ff-b2be-c3f5dd1e26e1" providerId="ADAL" clId="{F1089F27-2CA7-4F6B-AF97-026CBAF4CD7A}" dt="2023-02-12T14:12:16.397" v="5064" actId="208"/>
          <ac:spMkLst>
            <pc:docMk/>
            <pc:sldMk cId="2227863510" sldId="2134806331"/>
            <ac:spMk id="11" creationId="{D306C43A-8472-50B7-D21D-58B5E11C1271}"/>
          </ac:spMkLst>
        </pc:spChg>
      </pc:sldChg>
      <pc:sldChg chg="del">
        <pc:chgData name="STEPANCHENKO, D. (Dmitrii)" userId="30c9d29d-ac41-46ff-b2be-c3f5dd1e26e1" providerId="ADAL" clId="{F1089F27-2CA7-4F6B-AF97-026CBAF4CD7A}" dt="2023-02-10T14:12:18.826" v="52" actId="47"/>
        <pc:sldMkLst>
          <pc:docMk/>
          <pc:sldMk cId="4127393553" sldId="2134806331"/>
        </pc:sldMkLst>
      </pc:sldChg>
      <pc:sldChg chg="del">
        <pc:chgData name="STEPANCHENKO, D. (Dmitrii)" userId="30c9d29d-ac41-46ff-b2be-c3f5dd1e26e1" providerId="ADAL" clId="{F1089F27-2CA7-4F6B-AF97-026CBAF4CD7A}" dt="2023-02-10T14:12:18.826" v="52" actId="47"/>
        <pc:sldMkLst>
          <pc:docMk/>
          <pc:sldMk cId="962056861" sldId="2134806332"/>
        </pc:sldMkLst>
      </pc:sldChg>
      <pc:sldChg chg="addSp delSp modSp add mod">
        <pc:chgData name="STEPANCHENKO, D. (Dmitrii)" userId="30c9d29d-ac41-46ff-b2be-c3f5dd1e26e1" providerId="ADAL" clId="{F1089F27-2CA7-4F6B-AF97-026CBAF4CD7A}" dt="2023-02-12T12:09:48.232" v="3686" actId="21"/>
        <pc:sldMkLst>
          <pc:docMk/>
          <pc:sldMk cId="2682644823" sldId="2134806332"/>
        </pc:sldMkLst>
        <pc:spChg chg="mod">
          <ac:chgData name="STEPANCHENKO, D. (Dmitrii)" userId="30c9d29d-ac41-46ff-b2be-c3f5dd1e26e1" providerId="ADAL" clId="{F1089F27-2CA7-4F6B-AF97-026CBAF4CD7A}" dt="2023-02-12T12:00:17.987" v="3649" actId="20577"/>
          <ac:spMkLst>
            <pc:docMk/>
            <pc:sldMk cId="2682644823" sldId="2134806332"/>
            <ac:spMk id="3" creationId="{B0B1E3C9-3E00-7AF5-9C86-3E21886F5EB9}"/>
          </ac:spMkLst>
        </pc:spChg>
        <pc:spChg chg="del">
          <ac:chgData name="STEPANCHENKO, D. (Dmitrii)" userId="30c9d29d-ac41-46ff-b2be-c3f5dd1e26e1" providerId="ADAL" clId="{F1089F27-2CA7-4F6B-AF97-026CBAF4CD7A}" dt="2023-02-12T12:09:21.707" v="3685" actId="478"/>
          <ac:spMkLst>
            <pc:docMk/>
            <pc:sldMk cId="2682644823" sldId="2134806332"/>
            <ac:spMk id="4" creationId="{068959D8-736E-2816-3A1C-C1169815369D}"/>
          </ac:spMkLst>
        </pc:spChg>
        <pc:spChg chg="add mod">
          <ac:chgData name="STEPANCHENKO, D. (Dmitrii)" userId="30c9d29d-ac41-46ff-b2be-c3f5dd1e26e1" providerId="ADAL" clId="{F1089F27-2CA7-4F6B-AF97-026CBAF4CD7A}" dt="2023-02-12T12:09:48.232" v="3686" actId="21"/>
          <ac:spMkLst>
            <pc:docMk/>
            <pc:sldMk cId="2682644823" sldId="2134806332"/>
            <ac:spMk id="6" creationId="{42F394B4-E137-D4D9-2AA6-E0C63D5E5290}"/>
          </ac:spMkLst>
        </pc:spChg>
      </pc:sldChg>
      <pc:sldChg chg="addSp delSp modSp add mod">
        <pc:chgData name="STEPANCHENKO, D. (Dmitrii)" userId="30c9d29d-ac41-46ff-b2be-c3f5dd1e26e1" providerId="ADAL" clId="{F1089F27-2CA7-4F6B-AF97-026CBAF4CD7A}" dt="2023-02-12T12:09:52.184" v="3688" actId="1076"/>
        <pc:sldMkLst>
          <pc:docMk/>
          <pc:sldMk cId="707995619" sldId="2134806333"/>
        </pc:sldMkLst>
        <pc:spChg chg="mod">
          <ac:chgData name="STEPANCHENKO, D. (Dmitrii)" userId="30c9d29d-ac41-46ff-b2be-c3f5dd1e26e1" providerId="ADAL" clId="{F1089F27-2CA7-4F6B-AF97-026CBAF4CD7A}" dt="2023-02-12T12:00:30.726" v="3656" actId="20577"/>
          <ac:spMkLst>
            <pc:docMk/>
            <pc:sldMk cId="707995619" sldId="2134806333"/>
            <ac:spMk id="3" creationId="{B0B1E3C9-3E00-7AF5-9C86-3E21886F5EB9}"/>
          </ac:spMkLst>
        </pc:spChg>
        <pc:spChg chg="del">
          <ac:chgData name="STEPANCHENKO, D. (Dmitrii)" userId="30c9d29d-ac41-46ff-b2be-c3f5dd1e26e1" providerId="ADAL" clId="{F1089F27-2CA7-4F6B-AF97-026CBAF4CD7A}" dt="2023-02-12T12:00:33.819" v="3657" actId="478"/>
          <ac:spMkLst>
            <pc:docMk/>
            <pc:sldMk cId="707995619" sldId="2134806333"/>
            <ac:spMk id="4" creationId="{068959D8-736E-2816-3A1C-C1169815369D}"/>
          </ac:spMkLst>
        </pc:spChg>
        <pc:spChg chg="add mod">
          <ac:chgData name="STEPANCHENKO, D. (Dmitrii)" userId="30c9d29d-ac41-46ff-b2be-c3f5dd1e26e1" providerId="ADAL" clId="{F1089F27-2CA7-4F6B-AF97-026CBAF4CD7A}" dt="2023-02-12T12:09:52.184" v="3688" actId="1076"/>
          <ac:spMkLst>
            <pc:docMk/>
            <pc:sldMk cId="707995619" sldId="2134806333"/>
            <ac:spMk id="6" creationId="{1A682D75-4BD3-4252-42A2-5554CDAF449C}"/>
          </ac:spMkLst>
        </pc:spChg>
      </pc:sldChg>
      <pc:sldChg chg="del">
        <pc:chgData name="STEPANCHENKO, D. (Dmitrii)" userId="30c9d29d-ac41-46ff-b2be-c3f5dd1e26e1" providerId="ADAL" clId="{F1089F27-2CA7-4F6B-AF97-026CBAF4CD7A}" dt="2023-02-10T14:12:18.826" v="52" actId="47"/>
        <pc:sldMkLst>
          <pc:docMk/>
          <pc:sldMk cId="3444687285" sldId="2134806333"/>
        </pc:sldMkLst>
      </pc:sldChg>
      <pc:sldChg chg="add">
        <pc:chgData name="STEPANCHENKO, D. (Dmitrii)" userId="30c9d29d-ac41-46ff-b2be-c3f5dd1e26e1" providerId="ADAL" clId="{F1089F27-2CA7-4F6B-AF97-026CBAF4CD7A}" dt="2023-02-12T10:39:17.593" v="2853"/>
        <pc:sldMkLst>
          <pc:docMk/>
          <pc:sldMk cId="1780132281" sldId="2134806334"/>
        </pc:sldMkLst>
      </pc:sldChg>
      <pc:sldChg chg="del">
        <pc:chgData name="STEPANCHENKO, D. (Dmitrii)" userId="30c9d29d-ac41-46ff-b2be-c3f5dd1e26e1" providerId="ADAL" clId="{F1089F27-2CA7-4F6B-AF97-026CBAF4CD7A}" dt="2023-02-10T14:12:18.826" v="52" actId="47"/>
        <pc:sldMkLst>
          <pc:docMk/>
          <pc:sldMk cId="3608721573" sldId="2134806334"/>
        </pc:sldMkLst>
      </pc:sldChg>
      <pc:sldChg chg="modSp add mod">
        <pc:chgData name="STEPANCHENKO, D. (Dmitrii)" userId="30c9d29d-ac41-46ff-b2be-c3f5dd1e26e1" providerId="ADAL" clId="{F1089F27-2CA7-4F6B-AF97-026CBAF4CD7A}" dt="2023-02-12T14:20:15.199" v="5323" actId="21"/>
        <pc:sldMkLst>
          <pc:docMk/>
          <pc:sldMk cId="919593200" sldId="2134806335"/>
        </pc:sldMkLst>
        <pc:spChg chg="mod">
          <ac:chgData name="STEPANCHENKO, D. (Dmitrii)" userId="30c9d29d-ac41-46ff-b2be-c3f5dd1e26e1" providerId="ADAL" clId="{F1089F27-2CA7-4F6B-AF97-026CBAF4CD7A}" dt="2023-02-12T14:18:24.300" v="5171" actId="20577"/>
          <ac:spMkLst>
            <pc:docMk/>
            <pc:sldMk cId="919593200" sldId="2134806335"/>
            <ac:spMk id="3" creationId="{B0B1E3C9-3E00-7AF5-9C86-3E21886F5EB9}"/>
          </ac:spMkLst>
        </pc:spChg>
        <pc:spChg chg="mod">
          <ac:chgData name="STEPANCHENKO, D. (Dmitrii)" userId="30c9d29d-ac41-46ff-b2be-c3f5dd1e26e1" providerId="ADAL" clId="{F1089F27-2CA7-4F6B-AF97-026CBAF4CD7A}" dt="2023-02-12T14:20:15.199" v="5323" actId="21"/>
          <ac:spMkLst>
            <pc:docMk/>
            <pc:sldMk cId="919593200" sldId="2134806335"/>
            <ac:spMk id="6" creationId="{89C5E2C8-0113-4940-5D12-CA6A1E57CC5A}"/>
          </ac:spMkLst>
        </pc:spChg>
      </pc:sldChg>
      <pc:sldChg chg="del">
        <pc:chgData name="STEPANCHENKO, D. (Dmitrii)" userId="30c9d29d-ac41-46ff-b2be-c3f5dd1e26e1" providerId="ADAL" clId="{F1089F27-2CA7-4F6B-AF97-026CBAF4CD7A}" dt="2023-02-10T14:12:18.826" v="52" actId="47"/>
        <pc:sldMkLst>
          <pc:docMk/>
          <pc:sldMk cId="3429197109" sldId="2134806335"/>
        </pc:sldMkLst>
      </pc:sldChg>
      <pc:sldChg chg="delSp modSp add mod ord">
        <pc:chgData name="STEPANCHENKO, D. (Dmitrii)" userId="30c9d29d-ac41-46ff-b2be-c3f5dd1e26e1" providerId="ADAL" clId="{F1089F27-2CA7-4F6B-AF97-026CBAF4CD7A}" dt="2023-02-12T14:00:45.218" v="4799" actId="1076"/>
        <pc:sldMkLst>
          <pc:docMk/>
          <pc:sldMk cId="360816652" sldId="2134806336"/>
        </pc:sldMkLst>
        <pc:spChg chg="del">
          <ac:chgData name="STEPANCHENKO, D. (Dmitrii)" userId="30c9d29d-ac41-46ff-b2be-c3f5dd1e26e1" providerId="ADAL" clId="{F1089F27-2CA7-4F6B-AF97-026CBAF4CD7A}" dt="2023-02-12T14:00:06.725" v="4765" actId="478"/>
          <ac:spMkLst>
            <pc:docMk/>
            <pc:sldMk cId="360816652" sldId="2134806336"/>
            <ac:spMk id="4" creationId="{78C03241-F245-4623-A41A-659673385123}"/>
          </ac:spMkLst>
        </pc:spChg>
        <pc:spChg chg="mod">
          <ac:chgData name="STEPANCHENKO, D. (Dmitrii)" userId="30c9d29d-ac41-46ff-b2be-c3f5dd1e26e1" providerId="ADAL" clId="{F1089F27-2CA7-4F6B-AF97-026CBAF4CD7A}" dt="2023-02-12T14:00:18.573" v="4794" actId="20577"/>
          <ac:spMkLst>
            <pc:docMk/>
            <pc:sldMk cId="360816652" sldId="2134806336"/>
            <ac:spMk id="5" creationId="{81BD1123-3626-1C45-BF5B-1C1864FA8AFA}"/>
          </ac:spMkLst>
        </pc:spChg>
        <pc:picChg chg="mod">
          <ac:chgData name="STEPANCHENKO, D. (Dmitrii)" userId="30c9d29d-ac41-46ff-b2be-c3f5dd1e26e1" providerId="ADAL" clId="{F1089F27-2CA7-4F6B-AF97-026CBAF4CD7A}" dt="2023-02-12T14:00:45.218" v="4799" actId="1076"/>
          <ac:picMkLst>
            <pc:docMk/>
            <pc:sldMk cId="360816652" sldId="2134806336"/>
            <ac:picMk id="6" creationId="{DF5F0D23-00E6-FF40-BDD5-A23D3F9C9BD6}"/>
          </ac:picMkLst>
        </pc:picChg>
      </pc:sldChg>
      <pc:sldChg chg="del">
        <pc:chgData name="STEPANCHENKO, D. (Dmitrii)" userId="30c9d29d-ac41-46ff-b2be-c3f5dd1e26e1" providerId="ADAL" clId="{F1089F27-2CA7-4F6B-AF97-026CBAF4CD7A}" dt="2023-02-10T14:12:18.826" v="52" actId="47"/>
        <pc:sldMkLst>
          <pc:docMk/>
          <pc:sldMk cId="1608794076" sldId="2134806336"/>
        </pc:sldMkLst>
      </pc:sldChg>
      <pc:sldChg chg="modSp add mod">
        <pc:chgData name="STEPANCHENKO, D. (Dmitrii)" userId="30c9d29d-ac41-46ff-b2be-c3f5dd1e26e1" providerId="ADAL" clId="{F1089F27-2CA7-4F6B-AF97-026CBAF4CD7A}" dt="2023-02-12T14:18:32.708" v="5184" actId="20577"/>
        <pc:sldMkLst>
          <pc:docMk/>
          <pc:sldMk cId="460272892" sldId="2134806337"/>
        </pc:sldMkLst>
        <pc:spChg chg="mod">
          <ac:chgData name="STEPANCHENKO, D. (Dmitrii)" userId="30c9d29d-ac41-46ff-b2be-c3f5dd1e26e1" providerId="ADAL" clId="{F1089F27-2CA7-4F6B-AF97-026CBAF4CD7A}" dt="2023-02-12T14:18:32.708" v="5184" actId="20577"/>
          <ac:spMkLst>
            <pc:docMk/>
            <pc:sldMk cId="460272892" sldId="2134806337"/>
            <ac:spMk id="3" creationId="{B0B1E3C9-3E00-7AF5-9C86-3E21886F5EB9}"/>
          </ac:spMkLst>
        </pc:spChg>
      </pc:sldChg>
      <pc:sldChg chg="del">
        <pc:chgData name="STEPANCHENKO, D. (Dmitrii)" userId="30c9d29d-ac41-46ff-b2be-c3f5dd1e26e1" providerId="ADAL" clId="{F1089F27-2CA7-4F6B-AF97-026CBAF4CD7A}" dt="2023-02-10T14:12:18.826" v="52" actId="47"/>
        <pc:sldMkLst>
          <pc:docMk/>
          <pc:sldMk cId="3231236423" sldId="2134806337"/>
        </pc:sldMkLst>
      </pc:sldChg>
      <pc:sldChg chg="del">
        <pc:chgData name="STEPANCHENKO, D. (Dmitrii)" userId="30c9d29d-ac41-46ff-b2be-c3f5dd1e26e1" providerId="ADAL" clId="{F1089F27-2CA7-4F6B-AF97-026CBAF4CD7A}" dt="2023-02-10T14:12:18.826" v="52" actId="47"/>
        <pc:sldMkLst>
          <pc:docMk/>
          <pc:sldMk cId="1628329711" sldId="2134806338"/>
        </pc:sldMkLst>
      </pc:sldChg>
      <pc:sldChg chg="del">
        <pc:chgData name="STEPANCHENKO, D. (Dmitrii)" userId="30c9d29d-ac41-46ff-b2be-c3f5dd1e26e1" providerId="ADAL" clId="{F1089F27-2CA7-4F6B-AF97-026CBAF4CD7A}" dt="2023-02-10T14:12:18.826" v="52" actId="47"/>
        <pc:sldMkLst>
          <pc:docMk/>
          <pc:sldMk cId="1551122493" sldId="2134806339"/>
        </pc:sldMkLst>
      </pc:sldChg>
      <pc:sldChg chg="del">
        <pc:chgData name="STEPANCHENKO, D. (Dmitrii)" userId="30c9d29d-ac41-46ff-b2be-c3f5dd1e26e1" providerId="ADAL" clId="{F1089F27-2CA7-4F6B-AF97-026CBAF4CD7A}" dt="2023-02-10T14:12:18.826" v="52" actId="47"/>
        <pc:sldMkLst>
          <pc:docMk/>
          <pc:sldMk cId="4055161192" sldId="2134806341"/>
        </pc:sldMkLst>
      </pc:sldChg>
      <pc:sldChg chg="del">
        <pc:chgData name="STEPANCHENKO, D. (Dmitrii)" userId="30c9d29d-ac41-46ff-b2be-c3f5dd1e26e1" providerId="ADAL" clId="{F1089F27-2CA7-4F6B-AF97-026CBAF4CD7A}" dt="2023-02-10T14:12:18.826" v="52" actId="47"/>
        <pc:sldMkLst>
          <pc:docMk/>
          <pc:sldMk cId="2501858576" sldId="2134806342"/>
        </pc:sldMkLst>
      </pc:sldChg>
      <pc:sldChg chg="del">
        <pc:chgData name="STEPANCHENKO, D. (Dmitrii)" userId="30c9d29d-ac41-46ff-b2be-c3f5dd1e26e1" providerId="ADAL" clId="{F1089F27-2CA7-4F6B-AF97-026CBAF4CD7A}" dt="2023-02-10T14:12:18.826" v="52" actId="47"/>
        <pc:sldMkLst>
          <pc:docMk/>
          <pc:sldMk cId="1681204507" sldId="2134806343"/>
        </pc:sldMkLst>
      </pc:sldChg>
      <pc:sldChg chg="del">
        <pc:chgData name="STEPANCHENKO, D. (Dmitrii)" userId="30c9d29d-ac41-46ff-b2be-c3f5dd1e26e1" providerId="ADAL" clId="{F1089F27-2CA7-4F6B-AF97-026CBAF4CD7A}" dt="2023-02-10T14:12:18.826" v="52" actId="47"/>
        <pc:sldMkLst>
          <pc:docMk/>
          <pc:sldMk cId="3094043980" sldId="2134806344"/>
        </pc:sldMkLst>
      </pc:sldChg>
      <pc:sldChg chg="del">
        <pc:chgData name="STEPANCHENKO, D. (Dmitrii)" userId="30c9d29d-ac41-46ff-b2be-c3f5dd1e26e1" providerId="ADAL" clId="{F1089F27-2CA7-4F6B-AF97-026CBAF4CD7A}" dt="2023-02-10T14:12:18.826" v="52" actId="47"/>
        <pc:sldMkLst>
          <pc:docMk/>
          <pc:sldMk cId="319979765" sldId="2134806345"/>
        </pc:sldMkLst>
      </pc:sldChg>
      <pc:sldChg chg="del">
        <pc:chgData name="STEPANCHENKO, D. (Dmitrii)" userId="30c9d29d-ac41-46ff-b2be-c3f5dd1e26e1" providerId="ADAL" clId="{F1089F27-2CA7-4F6B-AF97-026CBAF4CD7A}" dt="2023-02-10T14:12:18.826" v="52" actId="47"/>
        <pc:sldMkLst>
          <pc:docMk/>
          <pc:sldMk cId="1623928624" sldId="2134806346"/>
        </pc:sldMkLst>
      </pc:sldChg>
      <pc:sldChg chg="del">
        <pc:chgData name="STEPANCHENKO, D. (Dmitrii)" userId="30c9d29d-ac41-46ff-b2be-c3f5dd1e26e1" providerId="ADAL" clId="{F1089F27-2CA7-4F6B-AF97-026CBAF4CD7A}" dt="2023-02-10T14:12:18.826" v="52" actId="47"/>
        <pc:sldMkLst>
          <pc:docMk/>
          <pc:sldMk cId="3986974841" sldId="2134806347"/>
        </pc:sldMkLst>
      </pc:sldChg>
      <pc:sldChg chg="del">
        <pc:chgData name="STEPANCHENKO, D. (Dmitrii)" userId="30c9d29d-ac41-46ff-b2be-c3f5dd1e26e1" providerId="ADAL" clId="{F1089F27-2CA7-4F6B-AF97-026CBAF4CD7A}" dt="2023-02-10T14:12:18.826" v="52" actId="47"/>
        <pc:sldMkLst>
          <pc:docMk/>
          <pc:sldMk cId="3121307498" sldId="2134806348"/>
        </pc:sldMkLst>
      </pc:sldChg>
      <pc:sldChg chg="del">
        <pc:chgData name="STEPANCHENKO, D. (Dmitrii)" userId="30c9d29d-ac41-46ff-b2be-c3f5dd1e26e1" providerId="ADAL" clId="{F1089F27-2CA7-4F6B-AF97-026CBAF4CD7A}" dt="2023-02-10T14:12:18.826" v="52" actId="47"/>
        <pc:sldMkLst>
          <pc:docMk/>
          <pc:sldMk cId="360950131" sldId="2134806349"/>
        </pc:sldMkLst>
      </pc:sldChg>
      <pc:sldChg chg="del">
        <pc:chgData name="STEPANCHENKO, D. (Dmitrii)" userId="30c9d29d-ac41-46ff-b2be-c3f5dd1e26e1" providerId="ADAL" clId="{F1089F27-2CA7-4F6B-AF97-026CBAF4CD7A}" dt="2023-02-10T14:12:18.826" v="52" actId="47"/>
        <pc:sldMkLst>
          <pc:docMk/>
          <pc:sldMk cId="2759589870" sldId="2134806350"/>
        </pc:sldMkLst>
      </pc:sldChg>
      <pc:sldChg chg="del">
        <pc:chgData name="STEPANCHENKO, D. (Dmitrii)" userId="30c9d29d-ac41-46ff-b2be-c3f5dd1e26e1" providerId="ADAL" clId="{F1089F27-2CA7-4F6B-AF97-026CBAF4CD7A}" dt="2023-02-10T14:12:18.826" v="52" actId="47"/>
        <pc:sldMkLst>
          <pc:docMk/>
          <pc:sldMk cId="853866529" sldId="2134806351"/>
        </pc:sldMkLst>
      </pc:sldChg>
      <pc:sldChg chg="del">
        <pc:chgData name="STEPANCHENKO, D. (Dmitrii)" userId="30c9d29d-ac41-46ff-b2be-c3f5dd1e26e1" providerId="ADAL" clId="{F1089F27-2CA7-4F6B-AF97-026CBAF4CD7A}" dt="2023-02-10T14:12:18.826" v="52" actId="47"/>
        <pc:sldMkLst>
          <pc:docMk/>
          <pc:sldMk cId="1653022067" sldId="2134806352"/>
        </pc:sldMkLst>
      </pc:sldChg>
      <pc:sldChg chg="del">
        <pc:chgData name="STEPANCHENKO, D. (Dmitrii)" userId="30c9d29d-ac41-46ff-b2be-c3f5dd1e26e1" providerId="ADAL" clId="{F1089F27-2CA7-4F6B-AF97-026CBAF4CD7A}" dt="2023-02-10T14:12:18.826" v="52" actId="47"/>
        <pc:sldMkLst>
          <pc:docMk/>
          <pc:sldMk cId="3668568787" sldId="2134806353"/>
        </pc:sldMkLst>
      </pc:sldChg>
      <pc:sldChg chg="del">
        <pc:chgData name="STEPANCHENKO, D. (Dmitrii)" userId="30c9d29d-ac41-46ff-b2be-c3f5dd1e26e1" providerId="ADAL" clId="{F1089F27-2CA7-4F6B-AF97-026CBAF4CD7A}" dt="2023-02-10T14:12:18.826" v="52" actId="47"/>
        <pc:sldMkLst>
          <pc:docMk/>
          <pc:sldMk cId="1098944605" sldId="2134806354"/>
        </pc:sldMkLst>
      </pc:sldChg>
      <pc:sldChg chg="del">
        <pc:chgData name="STEPANCHENKO, D. (Dmitrii)" userId="30c9d29d-ac41-46ff-b2be-c3f5dd1e26e1" providerId="ADAL" clId="{F1089F27-2CA7-4F6B-AF97-026CBAF4CD7A}" dt="2023-02-10T14:12:18.826" v="52" actId="47"/>
        <pc:sldMkLst>
          <pc:docMk/>
          <pc:sldMk cId="2104593195" sldId="2134806355"/>
        </pc:sldMkLst>
      </pc:sldChg>
      <pc:sldChg chg="del">
        <pc:chgData name="STEPANCHENKO, D. (Dmitrii)" userId="30c9d29d-ac41-46ff-b2be-c3f5dd1e26e1" providerId="ADAL" clId="{F1089F27-2CA7-4F6B-AF97-026CBAF4CD7A}" dt="2023-02-10T14:12:18.826" v="52" actId="47"/>
        <pc:sldMkLst>
          <pc:docMk/>
          <pc:sldMk cId="3369279782" sldId="2134806356"/>
        </pc:sldMkLst>
      </pc:sldChg>
      <pc:sldChg chg="del">
        <pc:chgData name="STEPANCHENKO, D. (Dmitrii)" userId="30c9d29d-ac41-46ff-b2be-c3f5dd1e26e1" providerId="ADAL" clId="{F1089F27-2CA7-4F6B-AF97-026CBAF4CD7A}" dt="2023-02-10T14:12:18.826" v="52" actId="47"/>
        <pc:sldMkLst>
          <pc:docMk/>
          <pc:sldMk cId="507477719" sldId="2134806357"/>
        </pc:sldMkLst>
      </pc:sldChg>
      <pc:sldChg chg="del">
        <pc:chgData name="STEPANCHENKO, D. (Dmitrii)" userId="30c9d29d-ac41-46ff-b2be-c3f5dd1e26e1" providerId="ADAL" clId="{F1089F27-2CA7-4F6B-AF97-026CBAF4CD7A}" dt="2023-02-10T14:12:18.826" v="52" actId="47"/>
        <pc:sldMkLst>
          <pc:docMk/>
          <pc:sldMk cId="1026104641" sldId="2134806359"/>
        </pc:sldMkLst>
      </pc:sldChg>
      <pc:sldChg chg="del">
        <pc:chgData name="STEPANCHENKO, D. (Dmitrii)" userId="30c9d29d-ac41-46ff-b2be-c3f5dd1e26e1" providerId="ADAL" clId="{F1089F27-2CA7-4F6B-AF97-026CBAF4CD7A}" dt="2023-02-10T14:12:18.826" v="52" actId="47"/>
        <pc:sldMkLst>
          <pc:docMk/>
          <pc:sldMk cId="3050701029" sldId="2134806360"/>
        </pc:sldMkLst>
      </pc:sldChg>
      <pc:sldChg chg="del">
        <pc:chgData name="STEPANCHENKO, D. (Dmitrii)" userId="30c9d29d-ac41-46ff-b2be-c3f5dd1e26e1" providerId="ADAL" clId="{F1089F27-2CA7-4F6B-AF97-026CBAF4CD7A}" dt="2023-02-10T14:12:18.826" v="52" actId="47"/>
        <pc:sldMkLst>
          <pc:docMk/>
          <pc:sldMk cId="150677344" sldId="2134806361"/>
        </pc:sldMkLst>
      </pc:sldChg>
      <pc:sldChg chg="del">
        <pc:chgData name="STEPANCHENKO, D. (Dmitrii)" userId="30c9d29d-ac41-46ff-b2be-c3f5dd1e26e1" providerId="ADAL" clId="{F1089F27-2CA7-4F6B-AF97-026CBAF4CD7A}" dt="2023-02-10T14:12:18.826" v="52" actId="47"/>
        <pc:sldMkLst>
          <pc:docMk/>
          <pc:sldMk cId="2024875999" sldId="2134806362"/>
        </pc:sldMkLst>
      </pc:sldChg>
      <pc:sldChg chg="del">
        <pc:chgData name="STEPANCHENKO, D. (Dmitrii)" userId="30c9d29d-ac41-46ff-b2be-c3f5dd1e26e1" providerId="ADAL" clId="{F1089F27-2CA7-4F6B-AF97-026CBAF4CD7A}" dt="2023-02-10T14:12:18.826" v="52" actId="47"/>
        <pc:sldMkLst>
          <pc:docMk/>
          <pc:sldMk cId="1030256302" sldId="2134806363"/>
        </pc:sldMkLst>
      </pc:sldChg>
      <pc:sldChg chg="del">
        <pc:chgData name="STEPANCHENKO, D. (Dmitrii)" userId="30c9d29d-ac41-46ff-b2be-c3f5dd1e26e1" providerId="ADAL" clId="{F1089F27-2CA7-4F6B-AF97-026CBAF4CD7A}" dt="2023-02-10T14:12:18.826" v="52" actId="47"/>
        <pc:sldMkLst>
          <pc:docMk/>
          <pc:sldMk cId="2170462522" sldId="2134806364"/>
        </pc:sldMkLst>
      </pc:sldChg>
      <pc:sldChg chg="del">
        <pc:chgData name="STEPANCHENKO, D. (Dmitrii)" userId="30c9d29d-ac41-46ff-b2be-c3f5dd1e26e1" providerId="ADAL" clId="{F1089F27-2CA7-4F6B-AF97-026CBAF4CD7A}" dt="2023-02-10T14:12:18.826" v="52" actId="47"/>
        <pc:sldMkLst>
          <pc:docMk/>
          <pc:sldMk cId="2009647800" sldId="2134806365"/>
        </pc:sldMkLst>
      </pc:sldChg>
      <pc:sldMasterChg chg="delSldLayout">
        <pc:chgData name="STEPANCHENKO, D. (Dmitrii)" userId="30c9d29d-ac41-46ff-b2be-c3f5dd1e26e1" providerId="ADAL" clId="{F1089F27-2CA7-4F6B-AF97-026CBAF4CD7A}" dt="2023-02-12T14:17:08.866" v="5120" actId="47"/>
        <pc:sldMasterMkLst>
          <pc:docMk/>
          <pc:sldMasterMk cId="1649149998" sldId="2147485410"/>
        </pc:sldMasterMkLst>
        <pc:sldLayoutChg chg="del">
          <pc:chgData name="STEPANCHENKO, D. (Dmitrii)" userId="30c9d29d-ac41-46ff-b2be-c3f5dd1e26e1" providerId="ADAL" clId="{F1089F27-2CA7-4F6B-AF97-026CBAF4CD7A}" dt="2023-02-12T14:17:08.866" v="5120" actId="47"/>
          <pc:sldLayoutMkLst>
            <pc:docMk/>
            <pc:sldMasterMk cId="1649149998" sldId="2147485410"/>
            <pc:sldLayoutMk cId="3383749418" sldId="2147485451"/>
          </pc:sldLayoutMkLst>
        </pc:sldLayoutChg>
      </pc:sldMasterChg>
    </pc:docChg>
  </pc:docChgLst>
  <pc:docChgLst>
    <pc:chgData name="STEPANCHENKO, D. (Dmitrii)" userId="30c9d29d-ac41-46ff-b2be-c3f5dd1e26e1" providerId="ADAL" clId="{6AAC7FF4-A7AB-4DB2-AAE2-E1C397793EF0}"/>
    <pc:docChg chg="undo redo custSel addSld delSld modSld modSection">
      <pc:chgData name="STEPANCHENKO, D. (Dmitrii)" userId="30c9d29d-ac41-46ff-b2be-c3f5dd1e26e1" providerId="ADAL" clId="{6AAC7FF4-A7AB-4DB2-AAE2-E1C397793EF0}" dt="2022-12-14T17:11:28.404" v="256" actId="478"/>
      <pc:docMkLst>
        <pc:docMk/>
      </pc:docMkLst>
      <pc:sldChg chg="modSp mod">
        <pc:chgData name="STEPANCHENKO, D. (Dmitrii)" userId="30c9d29d-ac41-46ff-b2be-c3f5dd1e26e1" providerId="ADAL" clId="{6AAC7FF4-A7AB-4DB2-AAE2-E1C397793EF0}" dt="2022-12-14T16:52:04.716" v="44" actId="20577"/>
        <pc:sldMkLst>
          <pc:docMk/>
          <pc:sldMk cId="4146022198" sldId="2134806269"/>
        </pc:sldMkLst>
        <pc:spChg chg="mod">
          <ac:chgData name="STEPANCHENKO, D. (Dmitrii)" userId="30c9d29d-ac41-46ff-b2be-c3f5dd1e26e1" providerId="ADAL" clId="{6AAC7FF4-A7AB-4DB2-AAE2-E1C397793EF0}" dt="2022-12-14T16:52:04.716" v="44" actId="20577"/>
          <ac:spMkLst>
            <pc:docMk/>
            <pc:sldMk cId="4146022198" sldId="2134806269"/>
            <ac:spMk id="9" creationId="{0321E1AF-71DF-9F4F-49D4-42B6DEF18470}"/>
          </ac:spMkLst>
        </pc:spChg>
      </pc:sldChg>
      <pc:sldChg chg="modSp mod">
        <pc:chgData name="STEPANCHENKO, D. (Dmitrii)" userId="30c9d29d-ac41-46ff-b2be-c3f5dd1e26e1" providerId="ADAL" clId="{6AAC7FF4-A7AB-4DB2-AAE2-E1C397793EF0}" dt="2022-12-14T16:55:28.074" v="80" actId="20577"/>
        <pc:sldMkLst>
          <pc:docMk/>
          <pc:sldMk cId="3806807723" sldId="2134806271"/>
        </pc:sldMkLst>
        <pc:graphicFrameChg chg="modGraphic">
          <ac:chgData name="STEPANCHENKO, D. (Dmitrii)" userId="30c9d29d-ac41-46ff-b2be-c3f5dd1e26e1" providerId="ADAL" clId="{6AAC7FF4-A7AB-4DB2-AAE2-E1C397793EF0}" dt="2022-12-14T16:55:28.074" v="80" actId="20577"/>
          <ac:graphicFrameMkLst>
            <pc:docMk/>
            <pc:sldMk cId="3806807723" sldId="2134806271"/>
            <ac:graphicFrameMk id="4" creationId="{4FA4670E-7F8F-F66C-8A96-9C378A643C68}"/>
          </ac:graphicFrameMkLst>
        </pc:graphicFrameChg>
      </pc:sldChg>
      <pc:sldChg chg="addSp delSp modSp mod">
        <pc:chgData name="STEPANCHENKO, D. (Dmitrii)" userId="30c9d29d-ac41-46ff-b2be-c3f5dd1e26e1" providerId="ADAL" clId="{6AAC7FF4-A7AB-4DB2-AAE2-E1C397793EF0}" dt="2022-12-14T17:11:20.739" v="255" actId="20577"/>
        <pc:sldMkLst>
          <pc:docMk/>
          <pc:sldMk cId="4005348636" sldId="2134806275"/>
        </pc:sldMkLst>
        <pc:spChg chg="mod">
          <ac:chgData name="STEPANCHENKO, D. (Dmitrii)" userId="30c9d29d-ac41-46ff-b2be-c3f5dd1e26e1" providerId="ADAL" clId="{6AAC7FF4-A7AB-4DB2-AAE2-E1C397793EF0}" dt="2022-12-14T17:11:20.739" v="255" actId="20577"/>
          <ac:spMkLst>
            <pc:docMk/>
            <pc:sldMk cId="4005348636" sldId="2134806275"/>
            <ac:spMk id="6" creationId="{55DC015C-12FE-A55C-DF36-68759984506F}"/>
          </ac:spMkLst>
        </pc:spChg>
        <pc:spChg chg="add del mod">
          <ac:chgData name="STEPANCHENKO, D. (Dmitrii)" userId="30c9d29d-ac41-46ff-b2be-c3f5dd1e26e1" providerId="ADAL" clId="{6AAC7FF4-A7AB-4DB2-AAE2-E1C397793EF0}" dt="2022-12-14T16:59:21.622" v="178" actId="478"/>
          <ac:spMkLst>
            <pc:docMk/>
            <pc:sldMk cId="4005348636" sldId="2134806275"/>
            <ac:spMk id="7" creationId="{3C481758-00F6-42FE-B8B2-008E0FDCECFC}"/>
          </ac:spMkLst>
        </pc:spChg>
        <pc:spChg chg="add mod">
          <ac:chgData name="STEPANCHENKO, D. (Dmitrii)" userId="30c9d29d-ac41-46ff-b2be-c3f5dd1e26e1" providerId="ADAL" clId="{6AAC7FF4-A7AB-4DB2-AAE2-E1C397793EF0}" dt="2022-12-14T17:03:15.472" v="248" actId="1076"/>
          <ac:spMkLst>
            <pc:docMk/>
            <pc:sldMk cId="4005348636" sldId="2134806275"/>
            <ac:spMk id="8" creationId="{9EBC456F-B5A9-419C-BE04-72F06FDA7584}"/>
          </ac:spMkLst>
        </pc:spChg>
        <pc:graphicFrameChg chg="mod">
          <ac:chgData name="STEPANCHENKO, D. (Dmitrii)" userId="30c9d29d-ac41-46ff-b2be-c3f5dd1e26e1" providerId="ADAL" clId="{6AAC7FF4-A7AB-4DB2-AAE2-E1C397793EF0}" dt="2022-12-14T17:03:22.394" v="250" actId="14100"/>
          <ac:graphicFrameMkLst>
            <pc:docMk/>
            <pc:sldMk cId="4005348636" sldId="2134806275"/>
            <ac:graphicFrameMk id="4" creationId="{11CFC757-5727-5D67-8831-9EC4CE6B6F84}"/>
          </ac:graphicFrameMkLst>
        </pc:graphicFrameChg>
        <pc:graphicFrameChg chg="mod">
          <ac:chgData name="STEPANCHENKO, D. (Dmitrii)" userId="30c9d29d-ac41-46ff-b2be-c3f5dd1e26e1" providerId="ADAL" clId="{6AAC7FF4-A7AB-4DB2-AAE2-E1C397793EF0}" dt="2022-12-14T17:03:22.394" v="250" actId="14100"/>
          <ac:graphicFrameMkLst>
            <pc:docMk/>
            <pc:sldMk cId="4005348636" sldId="2134806275"/>
            <ac:graphicFrameMk id="11" creationId="{B2FF438D-1B50-288E-3939-8606CECB8F6D}"/>
          </ac:graphicFrameMkLst>
        </pc:graphicFrameChg>
        <pc:picChg chg="add del mod">
          <ac:chgData name="STEPANCHENKO, D. (Dmitrii)" userId="30c9d29d-ac41-46ff-b2be-c3f5dd1e26e1" providerId="ADAL" clId="{6AAC7FF4-A7AB-4DB2-AAE2-E1C397793EF0}" dt="2022-12-14T17:10:40.419" v="251" actId="478"/>
          <ac:picMkLst>
            <pc:docMk/>
            <pc:sldMk cId="4005348636" sldId="2134806275"/>
            <ac:picMk id="3" creationId="{00000000-0000-0000-0000-000000000000}"/>
          </ac:picMkLst>
        </pc:picChg>
      </pc:sldChg>
      <pc:sldChg chg="modSp mod">
        <pc:chgData name="STEPANCHENKO, D. (Dmitrii)" userId="30c9d29d-ac41-46ff-b2be-c3f5dd1e26e1" providerId="ADAL" clId="{6AAC7FF4-A7AB-4DB2-AAE2-E1C397793EF0}" dt="2022-12-14T16:56:56.040" v="154" actId="14100"/>
        <pc:sldMkLst>
          <pc:docMk/>
          <pc:sldMk cId="2322687294" sldId="2134806289"/>
        </pc:sldMkLst>
        <pc:spChg chg="mod">
          <ac:chgData name="STEPANCHENKO, D. (Dmitrii)" userId="30c9d29d-ac41-46ff-b2be-c3f5dd1e26e1" providerId="ADAL" clId="{6AAC7FF4-A7AB-4DB2-AAE2-E1C397793EF0}" dt="2022-12-14T16:55:31.550" v="83" actId="20577"/>
          <ac:spMkLst>
            <pc:docMk/>
            <pc:sldMk cId="2322687294" sldId="2134806289"/>
            <ac:spMk id="5" creationId="{81BD1123-3626-1C45-BF5B-1C1864FA8AFA}"/>
          </ac:spMkLst>
        </pc:spChg>
        <pc:spChg chg="mod">
          <ac:chgData name="STEPANCHENKO, D. (Dmitrii)" userId="30c9d29d-ac41-46ff-b2be-c3f5dd1e26e1" providerId="ADAL" clId="{6AAC7FF4-A7AB-4DB2-AAE2-E1C397793EF0}" dt="2022-12-14T16:56:56.040" v="154" actId="14100"/>
          <ac:spMkLst>
            <pc:docMk/>
            <pc:sldMk cId="2322687294" sldId="2134806289"/>
            <ac:spMk id="6" creationId="{7304A516-7872-1BDB-C272-35B46237BDC5}"/>
          </ac:spMkLst>
        </pc:spChg>
        <pc:spChg chg="mod">
          <ac:chgData name="STEPANCHENKO, D. (Dmitrii)" userId="30c9d29d-ac41-46ff-b2be-c3f5dd1e26e1" providerId="ADAL" clId="{6AAC7FF4-A7AB-4DB2-AAE2-E1C397793EF0}" dt="2022-12-14T16:55:00.139" v="50" actId="20577"/>
          <ac:spMkLst>
            <pc:docMk/>
            <pc:sldMk cId="2322687294" sldId="2134806289"/>
            <ac:spMk id="7" creationId="{CF7A709A-ACDD-6ACC-C04E-047E625272FA}"/>
          </ac:spMkLst>
        </pc:spChg>
        <pc:graphicFrameChg chg="mod">
          <ac:chgData name="STEPANCHENKO, D. (Dmitrii)" userId="30c9d29d-ac41-46ff-b2be-c3f5dd1e26e1" providerId="ADAL" clId="{6AAC7FF4-A7AB-4DB2-AAE2-E1C397793EF0}" dt="2022-12-14T16:56:01.526" v="85" actId="14100"/>
          <ac:graphicFrameMkLst>
            <pc:docMk/>
            <pc:sldMk cId="2322687294" sldId="2134806289"/>
            <ac:graphicFrameMk id="3" creationId="{A12E7895-C2CC-4F97-8797-1EDFDB6BAB8A}"/>
          </ac:graphicFrameMkLst>
        </pc:graphicFrameChg>
      </pc:sldChg>
      <pc:sldChg chg="del">
        <pc:chgData name="STEPANCHENKO, D. (Dmitrii)" userId="30c9d29d-ac41-46ff-b2be-c3f5dd1e26e1" providerId="ADAL" clId="{6AAC7FF4-A7AB-4DB2-AAE2-E1C397793EF0}" dt="2022-12-14T17:10:54.475" v="253" actId="47"/>
        <pc:sldMkLst>
          <pc:docMk/>
          <pc:sldMk cId="2729030925" sldId="2134806298"/>
        </pc:sldMkLst>
      </pc:sldChg>
      <pc:sldChg chg="modSp mod">
        <pc:chgData name="STEPANCHENKO, D. (Dmitrii)" userId="30c9d29d-ac41-46ff-b2be-c3f5dd1e26e1" providerId="ADAL" clId="{6AAC7FF4-A7AB-4DB2-AAE2-E1C397793EF0}" dt="2022-12-14T15:17:44.901" v="1" actId="1076"/>
        <pc:sldMkLst>
          <pc:docMk/>
          <pc:sldMk cId="1455295070" sldId="2134806318"/>
        </pc:sldMkLst>
        <pc:picChg chg="mod">
          <ac:chgData name="STEPANCHENKO, D. (Dmitrii)" userId="30c9d29d-ac41-46ff-b2be-c3f5dd1e26e1" providerId="ADAL" clId="{6AAC7FF4-A7AB-4DB2-AAE2-E1C397793EF0}" dt="2022-12-14T15:17:44.901" v="1" actId="1076"/>
          <ac:picMkLst>
            <pc:docMk/>
            <pc:sldMk cId="1455295070" sldId="2134806318"/>
            <ac:picMk id="9" creationId="{C3A39222-90C1-4ECB-75D5-5E782010CDE5}"/>
          </ac:picMkLst>
        </pc:picChg>
      </pc:sldChg>
      <pc:sldChg chg="delSp modSp mod">
        <pc:chgData name="STEPANCHENKO, D. (Dmitrii)" userId="30c9d29d-ac41-46ff-b2be-c3f5dd1e26e1" providerId="ADAL" clId="{6AAC7FF4-A7AB-4DB2-AAE2-E1C397793EF0}" dt="2022-12-14T17:11:28.404" v="256" actId="478"/>
        <pc:sldMkLst>
          <pc:docMk/>
          <pc:sldMk cId="4070705944" sldId="2134806325"/>
        </pc:sldMkLst>
        <pc:spChg chg="del mod">
          <ac:chgData name="STEPANCHENKO, D. (Dmitrii)" userId="30c9d29d-ac41-46ff-b2be-c3f5dd1e26e1" providerId="ADAL" clId="{6AAC7FF4-A7AB-4DB2-AAE2-E1C397793EF0}" dt="2022-12-14T17:11:28.404" v="256" actId="478"/>
          <ac:spMkLst>
            <pc:docMk/>
            <pc:sldMk cId="4070705944" sldId="2134806325"/>
            <ac:spMk id="6" creationId="{55DC015C-12FE-A55C-DF36-68759984506F}"/>
          </ac:spMkLst>
        </pc:spChg>
      </pc:sldChg>
      <pc:sldChg chg="add">
        <pc:chgData name="STEPANCHENKO, D. (Dmitrii)" userId="30c9d29d-ac41-46ff-b2be-c3f5dd1e26e1" providerId="ADAL" clId="{6AAC7FF4-A7AB-4DB2-AAE2-E1C397793EF0}" dt="2022-12-14T17:10:52.883" v="252"/>
        <pc:sldMkLst>
          <pc:docMk/>
          <pc:sldMk cId="521703837" sldId="2134806326"/>
        </pc:sldMkLst>
      </pc:sldChg>
    </pc:docChg>
  </pc:docChgLst>
  <pc:docChgLst>
    <pc:chgData name="STEPANCHENKO, D. (Dmitrii)" userId="30c9d29d-ac41-46ff-b2be-c3f5dd1e26e1" providerId="ADAL" clId="{B3A474F3-5485-4A93-8981-1E68ACC9F057}"/>
    <pc:docChg chg="undo redo custSel addSld delSld modSld sldOrd modSection">
      <pc:chgData name="STEPANCHENKO, D. (Dmitrii)" userId="30c9d29d-ac41-46ff-b2be-c3f5dd1e26e1" providerId="ADAL" clId="{B3A474F3-5485-4A93-8981-1E68ACC9F057}" dt="2023-02-05T11:31:56.483" v="8487" actId="20577"/>
      <pc:docMkLst>
        <pc:docMk/>
      </pc:docMkLst>
      <pc:sldChg chg="addSp delSp modSp mod modAnim">
        <pc:chgData name="STEPANCHENKO, D. (Dmitrii)" userId="30c9d29d-ac41-46ff-b2be-c3f5dd1e26e1" providerId="ADAL" clId="{B3A474F3-5485-4A93-8981-1E68ACC9F057}" dt="2023-02-05T08:24:05.215" v="6837" actId="207"/>
        <pc:sldMkLst>
          <pc:docMk/>
          <pc:sldMk cId="4146022198" sldId="2134806269"/>
        </pc:sldMkLst>
        <pc:spChg chg="mod">
          <ac:chgData name="STEPANCHENKO, D. (Dmitrii)" userId="30c9d29d-ac41-46ff-b2be-c3f5dd1e26e1" providerId="ADAL" clId="{B3A474F3-5485-4A93-8981-1E68ACC9F057}" dt="2023-02-05T08:22:29.692" v="6785" actId="14100"/>
          <ac:spMkLst>
            <pc:docMk/>
            <pc:sldMk cId="4146022198" sldId="2134806269"/>
            <ac:spMk id="4" creationId="{E704B17B-2B24-A94D-BEEB-3665EC84CBC2}"/>
          </ac:spMkLst>
        </pc:spChg>
        <pc:spChg chg="add del mod">
          <ac:chgData name="STEPANCHENKO, D. (Dmitrii)" userId="30c9d29d-ac41-46ff-b2be-c3f5dd1e26e1" providerId="ADAL" clId="{B3A474F3-5485-4A93-8981-1E68ACC9F057}" dt="2023-02-05T08:24:05.215" v="6837" actId="207"/>
          <ac:spMkLst>
            <pc:docMk/>
            <pc:sldMk cId="4146022198" sldId="2134806269"/>
            <ac:spMk id="7" creationId="{62918792-EAC4-5F14-CC7D-8D916E348FD3}"/>
          </ac:spMkLst>
        </pc:spChg>
        <pc:spChg chg="add mod">
          <ac:chgData name="STEPANCHENKO, D. (Dmitrii)" userId="30c9d29d-ac41-46ff-b2be-c3f5dd1e26e1" providerId="ADAL" clId="{B3A474F3-5485-4A93-8981-1E68ACC9F057}" dt="2023-02-05T08:22:46.962" v="6806" actId="208"/>
          <ac:spMkLst>
            <pc:docMk/>
            <pc:sldMk cId="4146022198" sldId="2134806269"/>
            <ac:spMk id="9" creationId="{968CB89E-20B5-4BBC-BA46-1FE880EA4105}"/>
          </ac:spMkLst>
        </pc:spChg>
        <pc:spChg chg="add mod">
          <ac:chgData name="STEPANCHENKO, D. (Dmitrii)" userId="30c9d29d-ac41-46ff-b2be-c3f5dd1e26e1" providerId="ADAL" clId="{B3A474F3-5485-4A93-8981-1E68ACC9F057}" dt="2023-02-05T08:23:04.143" v="6809" actId="14100"/>
          <ac:spMkLst>
            <pc:docMk/>
            <pc:sldMk cId="4146022198" sldId="2134806269"/>
            <ac:spMk id="10" creationId="{4869BF0D-F006-5AE4-794D-9139713FBEC1}"/>
          </ac:spMkLst>
        </pc:spChg>
        <pc:spChg chg="add mod">
          <ac:chgData name="STEPANCHENKO, D. (Dmitrii)" userId="30c9d29d-ac41-46ff-b2be-c3f5dd1e26e1" providerId="ADAL" clId="{B3A474F3-5485-4A93-8981-1E68ACC9F057}" dt="2023-02-05T08:24:01.886" v="6836" actId="207"/>
          <ac:spMkLst>
            <pc:docMk/>
            <pc:sldMk cId="4146022198" sldId="2134806269"/>
            <ac:spMk id="11" creationId="{28C1EB04-4739-1CAB-75E8-2DAFBE8FCDFF}"/>
          </ac:spMkLst>
        </pc:spChg>
      </pc:sldChg>
      <pc:sldChg chg="modSp mod ord">
        <pc:chgData name="STEPANCHENKO, D. (Dmitrii)" userId="30c9d29d-ac41-46ff-b2be-c3f5dd1e26e1" providerId="ADAL" clId="{B3A474F3-5485-4A93-8981-1E68ACC9F057}" dt="2023-02-04T09:10:11.194" v="5665" actId="20577"/>
        <pc:sldMkLst>
          <pc:docMk/>
          <pc:sldMk cId="1987294738" sldId="2134806293"/>
        </pc:sldMkLst>
        <pc:spChg chg="mod">
          <ac:chgData name="STEPANCHENKO, D. (Dmitrii)" userId="30c9d29d-ac41-46ff-b2be-c3f5dd1e26e1" providerId="ADAL" clId="{B3A474F3-5485-4A93-8981-1E68ACC9F057}" dt="2023-02-04T09:10:11.194" v="5665" actId="20577"/>
          <ac:spMkLst>
            <pc:docMk/>
            <pc:sldMk cId="1987294738" sldId="2134806293"/>
            <ac:spMk id="5" creationId="{81BD1123-3626-1C45-BF5B-1C1864FA8AFA}"/>
          </ac:spMkLst>
        </pc:spChg>
        <pc:spChg chg="mod">
          <ac:chgData name="STEPANCHENKO, D. (Dmitrii)" userId="30c9d29d-ac41-46ff-b2be-c3f5dd1e26e1" providerId="ADAL" clId="{B3A474F3-5485-4A93-8981-1E68ACC9F057}" dt="2023-02-04T07:31:11.985" v="5509" actId="1035"/>
          <ac:spMkLst>
            <pc:docMk/>
            <pc:sldMk cId="1987294738" sldId="2134806293"/>
            <ac:spMk id="11" creationId="{4A89C080-E02A-4114-9A18-64ED1A28D56E}"/>
          </ac:spMkLst>
        </pc:spChg>
      </pc:sldChg>
      <pc:sldChg chg="addSp modSp mod">
        <pc:chgData name="STEPANCHENKO, D. (Dmitrii)" userId="30c9d29d-ac41-46ff-b2be-c3f5dd1e26e1" providerId="ADAL" clId="{B3A474F3-5485-4A93-8981-1E68ACC9F057}" dt="2023-02-05T10:41:23.544" v="7333" actId="13926"/>
        <pc:sldMkLst>
          <pc:docMk/>
          <pc:sldMk cId="3274818839" sldId="2134806329"/>
        </pc:sldMkLst>
        <pc:spChg chg="add mod">
          <ac:chgData name="STEPANCHENKO, D. (Dmitrii)" userId="30c9d29d-ac41-46ff-b2be-c3f5dd1e26e1" providerId="ADAL" clId="{B3A474F3-5485-4A93-8981-1E68ACC9F057}" dt="2023-02-04T09:03:15.649" v="5659" actId="1035"/>
          <ac:spMkLst>
            <pc:docMk/>
            <pc:sldMk cId="3274818839" sldId="2134806329"/>
            <ac:spMk id="3" creationId="{259C6787-EEAB-99FE-A5A1-045652EF1AC3}"/>
          </ac:spMkLst>
        </pc:spChg>
        <pc:spChg chg="mod">
          <ac:chgData name="STEPANCHENKO, D. (Dmitrii)" userId="30c9d29d-ac41-46ff-b2be-c3f5dd1e26e1" providerId="ADAL" clId="{B3A474F3-5485-4A93-8981-1E68ACC9F057}" dt="2023-02-04T09:10:03.959" v="5663" actId="20577"/>
          <ac:spMkLst>
            <pc:docMk/>
            <pc:sldMk cId="3274818839" sldId="2134806329"/>
            <ac:spMk id="5" creationId="{81BD1123-3626-1C45-BF5B-1C1864FA8AFA}"/>
          </ac:spMkLst>
        </pc:spChg>
        <pc:spChg chg="mod">
          <ac:chgData name="STEPANCHENKO, D. (Dmitrii)" userId="30c9d29d-ac41-46ff-b2be-c3f5dd1e26e1" providerId="ADAL" clId="{B3A474F3-5485-4A93-8981-1E68ACC9F057}" dt="2023-02-05T10:41:23.544" v="7333" actId="13926"/>
          <ac:spMkLst>
            <pc:docMk/>
            <pc:sldMk cId="3274818839" sldId="2134806329"/>
            <ac:spMk id="7" creationId="{05E61C94-C306-46A7-941B-5C78E82C67F8}"/>
          </ac:spMkLst>
        </pc:spChg>
        <pc:spChg chg="mod">
          <ac:chgData name="STEPANCHENKO, D. (Dmitrii)" userId="30c9d29d-ac41-46ff-b2be-c3f5dd1e26e1" providerId="ADAL" clId="{B3A474F3-5485-4A93-8981-1E68ACC9F057}" dt="2023-02-05T10:41:21.276" v="7332" actId="13926"/>
          <ac:spMkLst>
            <pc:docMk/>
            <pc:sldMk cId="3274818839" sldId="2134806329"/>
            <ac:spMk id="8" creationId="{02AC0575-0834-48E1-901C-A185C8F7BA93}"/>
          </ac:spMkLst>
        </pc:spChg>
      </pc:sldChg>
      <pc:sldChg chg="modSp mod">
        <pc:chgData name="STEPANCHENKO, D. (Dmitrii)" userId="30c9d29d-ac41-46ff-b2be-c3f5dd1e26e1" providerId="ADAL" clId="{B3A474F3-5485-4A93-8981-1E68ACC9F057}" dt="2023-02-04T08:06:12.006" v="5642" actId="14100"/>
        <pc:sldMkLst>
          <pc:docMk/>
          <pc:sldMk cId="3429197109" sldId="2134806335"/>
        </pc:sldMkLst>
        <pc:graphicFrameChg chg="modGraphic">
          <ac:chgData name="STEPANCHENKO, D. (Dmitrii)" userId="30c9d29d-ac41-46ff-b2be-c3f5dd1e26e1" providerId="ADAL" clId="{B3A474F3-5485-4A93-8981-1E68ACC9F057}" dt="2023-02-04T08:06:12.006" v="5642" actId="14100"/>
          <ac:graphicFrameMkLst>
            <pc:docMk/>
            <pc:sldMk cId="3429197109" sldId="2134806335"/>
            <ac:graphicFrameMk id="3" creationId="{3FB1392B-9DAC-40D6-AF12-16AF88B26518}"/>
          </ac:graphicFrameMkLst>
        </pc:graphicFrameChg>
      </pc:sldChg>
      <pc:sldChg chg="modSp mod">
        <pc:chgData name="STEPANCHENKO, D. (Dmitrii)" userId="30c9d29d-ac41-46ff-b2be-c3f5dd1e26e1" providerId="ADAL" clId="{B3A474F3-5485-4A93-8981-1E68ACC9F057}" dt="2023-02-04T07:46:03.081" v="5532" actId="20577"/>
        <pc:sldMkLst>
          <pc:docMk/>
          <pc:sldMk cId="3121307498" sldId="2134806348"/>
        </pc:sldMkLst>
        <pc:graphicFrameChg chg="modGraphic">
          <ac:chgData name="STEPANCHENKO, D. (Dmitrii)" userId="30c9d29d-ac41-46ff-b2be-c3f5dd1e26e1" providerId="ADAL" clId="{B3A474F3-5485-4A93-8981-1E68ACC9F057}" dt="2023-02-04T07:46:03.081" v="5532" actId="20577"/>
          <ac:graphicFrameMkLst>
            <pc:docMk/>
            <pc:sldMk cId="3121307498" sldId="2134806348"/>
            <ac:graphicFrameMk id="7" creationId="{6FF43420-5F97-4112-B0D3-FE928926660A}"/>
          </ac:graphicFrameMkLst>
        </pc:graphicFrameChg>
      </pc:sldChg>
      <pc:sldChg chg="modSp mod">
        <pc:chgData name="STEPANCHENKO, D. (Dmitrii)" userId="30c9d29d-ac41-46ff-b2be-c3f5dd1e26e1" providerId="ADAL" clId="{B3A474F3-5485-4A93-8981-1E68ACC9F057}" dt="2023-02-02T11:56:23.005" v="10" actId="14100"/>
        <pc:sldMkLst>
          <pc:docMk/>
          <pc:sldMk cId="360950131" sldId="2134806349"/>
        </pc:sldMkLst>
        <pc:spChg chg="mod">
          <ac:chgData name="STEPANCHENKO, D. (Dmitrii)" userId="30c9d29d-ac41-46ff-b2be-c3f5dd1e26e1" providerId="ADAL" clId="{B3A474F3-5485-4A93-8981-1E68ACC9F057}" dt="2023-02-02T11:56:09.709" v="4" actId="20577"/>
          <ac:spMkLst>
            <pc:docMk/>
            <pc:sldMk cId="360950131" sldId="2134806349"/>
            <ac:spMk id="10" creationId="{2254E375-2FB3-4511-9C58-9442856C2042}"/>
          </ac:spMkLst>
        </pc:spChg>
        <pc:spChg chg="mod">
          <ac:chgData name="STEPANCHENKO, D. (Dmitrii)" userId="30c9d29d-ac41-46ff-b2be-c3f5dd1e26e1" providerId="ADAL" clId="{B3A474F3-5485-4A93-8981-1E68ACC9F057}" dt="2023-02-02T11:56:23.005" v="10" actId="14100"/>
          <ac:spMkLst>
            <pc:docMk/>
            <pc:sldMk cId="360950131" sldId="2134806349"/>
            <ac:spMk id="15" creationId="{E6217700-48BD-4F57-ABEE-041604653B78}"/>
          </ac:spMkLst>
        </pc:spChg>
        <pc:cxnChg chg="mod">
          <ac:chgData name="STEPANCHENKO, D. (Dmitrii)" userId="30c9d29d-ac41-46ff-b2be-c3f5dd1e26e1" providerId="ADAL" clId="{B3A474F3-5485-4A93-8981-1E68ACC9F057}" dt="2023-02-02T11:56:23.005" v="10" actId="14100"/>
          <ac:cxnSpMkLst>
            <pc:docMk/>
            <pc:sldMk cId="360950131" sldId="2134806349"/>
            <ac:cxnSpMk id="17" creationId="{3EE0A07F-DE4D-4BE0-AC12-E01AFA9531B8}"/>
          </ac:cxnSpMkLst>
        </pc:cxnChg>
      </pc:sldChg>
      <pc:sldChg chg="modSp mod">
        <pc:chgData name="STEPANCHENKO, D. (Dmitrii)" userId="30c9d29d-ac41-46ff-b2be-c3f5dd1e26e1" providerId="ADAL" clId="{B3A474F3-5485-4A93-8981-1E68ACC9F057}" dt="2023-02-04T07:08:45.069" v="5464" actId="1035"/>
        <pc:sldMkLst>
          <pc:docMk/>
          <pc:sldMk cId="2759589870" sldId="2134806350"/>
        </pc:sldMkLst>
        <pc:spChg chg="mod">
          <ac:chgData name="STEPANCHENKO, D. (Dmitrii)" userId="30c9d29d-ac41-46ff-b2be-c3f5dd1e26e1" providerId="ADAL" clId="{B3A474F3-5485-4A93-8981-1E68ACC9F057}" dt="2023-02-04T07:08:45.069" v="5464" actId="1035"/>
          <ac:spMkLst>
            <pc:docMk/>
            <pc:sldMk cId="2759589870" sldId="2134806350"/>
            <ac:spMk id="24" creationId="{AC22F2D7-F662-4426-B19B-BE46B45582F9}"/>
          </ac:spMkLst>
        </pc:spChg>
      </pc:sldChg>
      <pc:sldChg chg="addSp delSp modSp mod">
        <pc:chgData name="STEPANCHENKO, D. (Dmitrii)" userId="30c9d29d-ac41-46ff-b2be-c3f5dd1e26e1" providerId="ADAL" clId="{B3A474F3-5485-4A93-8981-1E68ACC9F057}" dt="2023-02-03T09:02:03.880" v="3280" actId="208"/>
        <pc:sldMkLst>
          <pc:docMk/>
          <pc:sldMk cId="1653022067" sldId="2134806352"/>
        </pc:sldMkLst>
        <pc:spChg chg="add mod">
          <ac:chgData name="STEPANCHENKO, D. (Dmitrii)" userId="30c9d29d-ac41-46ff-b2be-c3f5dd1e26e1" providerId="ADAL" clId="{B3A474F3-5485-4A93-8981-1E68ACC9F057}" dt="2023-02-03T09:01:59.563" v="3279" actId="1076"/>
          <ac:spMkLst>
            <pc:docMk/>
            <pc:sldMk cId="1653022067" sldId="2134806352"/>
            <ac:spMk id="14" creationId="{15AB571A-82D2-776A-7FFF-74F0DFB71EE5}"/>
          </ac:spMkLst>
        </pc:spChg>
        <pc:graphicFrameChg chg="mod modGraphic">
          <ac:chgData name="STEPANCHENKO, D. (Dmitrii)" userId="30c9d29d-ac41-46ff-b2be-c3f5dd1e26e1" providerId="ADAL" clId="{B3A474F3-5485-4A93-8981-1E68ACC9F057}" dt="2023-02-02T15:09:33.120" v="37" actId="20577"/>
          <ac:graphicFrameMkLst>
            <pc:docMk/>
            <pc:sldMk cId="1653022067" sldId="2134806352"/>
            <ac:graphicFrameMk id="27" creationId="{EF916E41-6838-46F8-88F0-E74262BAFA6C}"/>
          </ac:graphicFrameMkLst>
        </pc:graphicFrameChg>
        <pc:cxnChg chg="add del">
          <ac:chgData name="STEPANCHENKO, D. (Dmitrii)" userId="30c9d29d-ac41-46ff-b2be-c3f5dd1e26e1" providerId="ADAL" clId="{B3A474F3-5485-4A93-8981-1E68ACC9F057}" dt="2023-02-03T08:59:21.150" v="3030" actId="11529"/>
          <ac:cxnSpMkLst>
            <pc:docMk/>
            <pc:sldMk cId="1653022067" sldId="2134806352"/>
            <ac:cxnSpMk id="7" creationId="{9AF932C0-002E-A3A3-26B2-853460DC8316}"/>
          </ac:cxnSpMkLst>
        </pc:cxnChg>
        <pc:cxnChg chg="add mod">
          <ac:chgData name="STEPANCHENKO, D. (Dmitrii)" userId="30c9d29d-ac41-46ff-b2be-c3f5dd1e26e1" providerId="ADAL" clId="{B3A474F3-5485-4A93-8981-1E68ACC9F057}" dt="2023-02-03T09:02:03.880" v="3280" actId="208"/>
          <ac:cxnSpMkLst>
            <pc:docMk/>
            <pc:sldMk cId="1653022067" sldId="2134806352"/>
            <ac:cxnSpMk id="10" creationId="{4A52CF5D-9329-E6D7-A6FA-BCDAC4357E27}"/>
          </ac:cxnSpMkLst>
        </pc:cxnChg>
      </pc:sldChg>
      <pc:sldChg chg="ord">
        <pc:chgData name="STEPANCHENKO, D. (Dmitrii)" userId="30c9d29d-ac41-46ff-b2be-c3f5dd1e26e1" providerId="ADAL" clId="{B3A474F3-5485-4A93-8981-1E68ACC9F057}" dt="2023-02-03T08:32:31.362" v="2209"/>
        <pc:sldMkLst>
          <pc:docMk/>
          <pc:sldMk cId="3668568787" sldId="2134806353"/>
        </pc:sldMkLst>
      </pc:sldChg>
      <pc:sldChg chg="addSp delSp modSp mod ord">
        <pc:chgData name="STEPANCHENKO, D. (Dmitrii)" userId="30c9d29d-ac41-46ff-b2be-c3f5dd1e26e1" providerId="ADAL" clId="{B3A474F3-5485-4A93-8981-1E68ACC9F057}" dt="2023-02-03T13:24:07.740" v="5441" actId="1035"/>
        <pc:sldMkLst>
          <pc:docMk/>
          <pc:sldMk cId="1098944605" sldId="2134806354"/>
        </pc:sldMkLst>
        <pc:spChg chg="add del">
          <ac:chgData name="STEPANCHENKO, D. (Dmitrii)" userId="30c9d29d-ac41-46ff-b2be-c3f5dd1e26e1" providerId="ADAL" clId="{B3A474F3-5485-4A93-8981-1E68ACC9F057}" dt="2023-02-02T18:09:14.746" v="72" actId="11529"/>
          <ac:spMkLst>
            <pc:docMk/>
            <pc:sldMk cId="1098944605" sldId="2134806354"/>
            <ac:spMk id="3" creationId="{5E19A938-2F9F-7B9C-9E8D-0695441F3A13}"/>
          </ac:spMkLst>
        </pc:spChg>
        <pc:spChg chg="add mod">
          <ac:chgData name="STEPANCHENKO, D. (Dmitrii)" userId="30c9d29d-ac41-46ff-b2be-c3f5dd1e26e1" providerId="ADAL" clId="{B3A474F3-5485-4A93-8981-1E68ACC9F057}" dt="2023-02-02T19:21:35.127" v="2046" actId="1036"/>
          <ac:spMkLst>
            <pc:docMk/>
            <pc:sldMk cId="1098944605" sldId="2134806354"/>
            <ac:spMk id="4" creationId="{A8077876-DE29-20AE-AE61-7C50584602EC}"/>
          </ac:spMkLst>
        </pc:spChg>
        <pc:spChg chg="mod">
          <ac:chgData name="STEPANCHENKO, D. (Dmitrii)" userId="30c9d29d-ac41-46ff-b2be-c3f5dd1e26e1" providerId="ADAL" clId="{B3A474F3-5485-4A93-8981-1E68ACC9F057}" dt="2023-02-02T18:22:52.379" v="547" actId="20577"/>
          <ac:spMkLst>
            <pc:docMk/>
            <pc:sldMk cId="1098944605" sldId="2134806354"/>
            <ac:spMk id="5" creationId="{81BD1123-3626-1C45-BF5B-1C1864FA8AFA}"/>
          </ac:spMkLst>
        </pc:spChg>
        <pc:spChg chg="add del mod">
          <ac:chgData name="STEPANCHENKO, D. (Dmitrii)" userId="30c9d29d-ac41-46ff-b2be-c3f5dd1e26e1" providerId="ADAL" clId="{B3A474F3-5485-4A93-8981-1E68ACC9F057}" dt="2023-02-02T18:13:15.258" v="244"/>
          <ac:spMkLst>
            <pc:docMk/>
            <pc:sldMk cId="1098944605" sldId="2134806354"/>
            <ac:spMk id="7" creationId="{E0E805EC-A84A-AEE0-3347-47B796967A53}"/>
          </ac:spMkLst>
        </pc:spChg>
        <pc:spChg chg="add mod">
          <ac:chgData name="STEPANCHENKO, D. (Dmitrii)" userId="30c9d29d-ac41-46ff-b2be-c3f5dd1e26e1" providerId="ADAL" clId="{B3A474F3-5485-4A93-8981-1E68ACC9F057}" dt="2023-02-03T11:56:11.308" v="4648" actId="313"/>
          <ac:spMkLst>
            <pc:docMk/>
            <pc:sldMk cId="1098944605" sldId="2134806354"/>
            <ac:spMk id="9" creationId="{86B5E6EA-EDC5-026A-2E3F-A47544EC16A6}"/>
          </ac:spMkLst>
        </pc:spChg>
        <pc:spChg chg="add del mod">
          <ac:chgData name="STEPANCHENKO, D. (Dmitrii)" userId="30c9d29d-ac41-46ff-b2be-c3f5dd1e26e1" providerId="ADAL" clId="{B3A474F3-5485-4A93-8981-1E68ACC9F057}" dt="2023-02-02T18:14:36.003" v="271" actId="478"/>
          <ac:spMkLst>
            <pc:docMk/>
            <pc:sldMk cId="1098944605" sldId="2134806354"/>
            <ac:spMk id="11" creationId="{26F05147-4146-971D-E7E7-3BD03DF431BC}"/>
          </ac:spMkLst>
        </pc:spChg>
        <pc:spChg chg="add mod">
          <ac:chgData name="STEPANCHENKO, D. (Dmitrii)" userId="30c9d29d-ac41-46ff-b2be-c3f5dd1e26e1" providerId="ADAL" clId="{B3A474F3-5485-4A93-8981-1E68ACC9F057}" dt="2023-02-02T19:21:35.127" v="2046" actId="1036"/>
          <ac:spMkLst>
            <pc:docMk/>
            <pc:sldMk cId="1098944605" sldId="2134806354"/>
            <ac:spMk id="12" creationId="{691892AB-BFF6-BC66-B9D9-FB8D87BFF529}"/>
          </ac:spMkLst>
        </pc:spChg>
        <pc:spChg chg="add mod">
          <ac:chgData name="STEPANCHENKO, D. (Dmitrii)" userId="30c9d29d-ac41-46ff-b2be-c3f5dd1e26e1" providerId="ADAL" clId="{B3A474F3-5485-4A93-8981-1E68ACC9F057}" dt="2023-02-02T19:21:35.127" v="2046" actId="1036"/>
          <ac:spMkLst>
            <pc:docMk/>
            <pc:sldMk cId="1098944605" sldId="2134806354"/>
            <ac:spMk id="14" creationId="{892427F7-B666-F565-1832-A2249DB5DE04}"/>
          </ac:spMkLst>
        </pc:spChg>
        <pc:spChg chg="add mod">
          <ac:chgData name="STEPANCHENKO, D. (Dmitrii)" userId="30c9d29d-ac41-46ff-b2be-c3f5dd1e26e1" providerId="ADAL" clId="{B3A474F3-5485-4A93-8981-1E68ACC9F057}" dt="2023-02-02T19:21:35.127" v="2046" actId="1036"/>
          <ac:spMkLst>
            <pc:docMk/>
            <pc:sldMk cId="1098944605" sldId="2134806354"/>
            <ac:spMk id="16" creationId="{29B69AE6-5A8D-881D-1520-5886524BE4E6}"/>
          </ac:spMkLst>
        </pc:spChg>
        <pc:spChg chg="add mod">
          <ac:chgData name="STEPANCHENKO, D. (Dmitrii)" userId="30c9d29d-ac41-46ff-b2be-c3f5dd1e26e1" providerId="ADAL" clId="{B3A474F3-5485-4A93-8981-1E68ACC9F057}" dt="2023-02-02T19:21:35.127" v="2046" actId="1036"/>
          <ac:spMkLst>
            <pc:docMk/>
            <pc:sldMk cId="1098944605" sldId="2134806354"/>
            <ac:spMk id="18" creationId="{E14D8F62-D3AA-4637-141A-5C770AE711ED}"/>
          </ac:spMkLst>
        </pc:spChg>
        <pc:spChg chg="add mod">
          <ac:chgData name="STEPANCHENKO, D. (Dmitrii)" userId="30c9d29d-ac41-46ff-b2be-c3f5dd1e26e1" providerId="ADAL" clId="{B3A474F3-5485-4A93-8981-1E68ACC9F057}" dt="2023-02-02T19:21:35.127" v="2046" actId="1036"/>
          <ac:spMkLst>
            <pc:docMk/>
            <pc:sldMk cId="1098944605" sldId="2134806354"/>
            <ac:spMk id="20" creationId="{425E587E-EABA-2A90-8599-075A84194267}"/>
          </ac:spMkLst>
        </pc:spChg>
        <pc:spChg chg="add mod">
          <ac:chgData name="STEPANCHENKO, D. (Dmitrii)" userId="30c9d29d-ac41-46ff-b2be-c3f5dd1e26e1" providerId="ADAL" clId="{B3A474F3-5485-4A93-8981-1E68ACC9F057}" dt="2023-02-02T19:21:35.127" v="2046" actId="1036"/>
          <ac:spMkLst>
            <pc:docMk/>
            <pc:sldMk cId="1098944605" sldId="2134806354"/>
            <ac:spMk id="22" creationId="{DE84A7F2-A254-2278-5354-3E09DB7CC2D8}"/>
          </ac:spMkLst>
        </pc:spChg>
        <pc:spChg chg="add mod">
          <ac:chgData name="STEPANCHENKO, D. (Dmitrii)" userId="30c9d29d-ac41-46ff-b2be-c3f5dd1e26e1" providerId="ADAL" clId="{B3A474F3-5485-4A93-8981-1E68ACC9F057}" dt="2023-02-02T19:21:35.127" v="2046" actId="1036"/>
          <ac:spMkLst>
            <pc:docMk/>
            <pc:sldMk cId="1098944605" sldId="2134806354"/>
            <ac:spMk id="23" creationId="{B9C219CB-3B12-49F7-7DAB-C92AF856AB57}"/>
          </ac:spMkLst>
        </pc:spChg>
        <pc:spChg chg="add mod">
          <ac:chgData name="STEPANCHENKO, D. (Dmitrii)" userId="30c9d29d-ac41-46ff-b2be-c3f5dd1e26e1" providerId="ADAL" clId="{B3A474F3-5485-4A93-8981-1E68ACC9F057}" dt="2023-02-02T19:21:35.127" v="2046" actId="1036"/>
          <ac:spMkLst>
            <pc:docMk/>
            <pc:sldMk cId="1098944605" sldId="2134806354"/>
            <ac:spMk id="24" creationId="{278664A0-ED84-274D-398C-F12996FE0D12}"/>
          </ac:spMkLst>
        </pc:spChg>
        <pc:spChg chg="add mod">
          <ac:chgData name="STEPANCHENKO, D. (Dmitrii)" userId="30c9d29d-ac41-46ff-b2be-c3f5dd1e26e1" providerId="ADAL" clId="{B3A474F3-5485-4A93-8981-1E68ACC9F057}" dt="2023-02-02T19:21:35.127" v="2046" actId="1036"/>
          <ac:spMkLst>
            <pc:docMk/>
            <pc:sldMk cId="1098944605" sldId="2134806354"/>
            <ac:spMk id="25" creationId="{6A813E22-9F77-D0A9-75EC-EF8307D2D778}"/>
          </ac:spMkLst>
        </pc:spChg>
        <pc:spChg chg="add mod">
          <ac:chgData name="STEPANCHENKO, D. (Dmitrii)" userId="30c9d29d-ac41-46ff-b2be-c3f5dd1e26e1" providerId="ADAL" clId="{B3A474F3-5485-4A93-8981-1E68ACC9F057}" dt="2023-02-02T19:21:35.127" v="2046" actId="1036"/>
          <ac:spMkLst>
            <pc:docMk/>
            <pc:sldMk cId="1098944605" sldId="2134806354"/>
            <ac:spMk id="26" creationId="{1680075F-F374-EBC4-9865-0AA52290493C}"/>
          </ac:spMkLst>
        </pc:spChg>
        <pc:spChg chg="add mod">
          <ac:chgData name="STEPANCHENKO, D. (Dmitrii)" userId="30c9d29d-ac41-46ff-b2be-c3f5dd1e26e1" providerId="ADAL" clId="{B3A474F3-5485-4A93-8981-1E68ACC9F057}" dt="2023-02-03T13:24:07.740" v="5441" actId="1035"/>
          <ac:spMkLst>
            <pc:docMk/>
            <pc:sldMk cId="1098944605" sldId="2134806354"/>
            <ac:spMk id="29" creationId="{ABBA29A4-5C4C-010C-EF18-3287C8E4C44C}"/>
          </ac:spMkLst>
        </pc:spChg>
        <pc:spChg chg="add mod">
          <ac:chgData name="STEPANCHENKO, D. (Dmitrii)" userId="30c9d29d-ac41-46ff-b2be-c3f5dd1e26e1" providerId="ADAL" clId="{B3A474F3-5485-4A93-8981-1E68ACC9F057}" dt="2023-02-02T18:31:34.262" v="738" actId="14100"/>
          <ac:spMkLst>
            <pc:docMk/>
            <pc:sldMk cId="1098944605" sldId="2134806354"/>
            <ac:spMk id="30" creationId="{8EB843D7-79FA-09D3-5E96-29A330ABCE5F}"/>
          </ac:spMkLst>
        </pc:spChg>
        <pc:spChg chg="add mod">
          <ac:chgData name="STEPANCHENKO, D. (Dmitrii)" userId="30c9d29d-ac41-46ff-b2be-c3f5dd1e26e1" providerId="ADAL" clId="{B3A474F3-5485-4A93-8981-1E68ACC9F057}" dt="2023-02-03T13:24:07.740" v="5441" actId="1035"/>
          <ac:spMkLst>
            <pc:docMk/>
            <pc:sldMk cId="1098944605" sldId="2134806354"/>
            <ac:spMk id="31" creationId="{197F8707-951D-0631-A66C-94FDB1F10A24}"/>
          </ac:spMkLst>
        </pc:spChg>
        <pc:spChg chg="add mod">
          <ac:chgData name="STEPANCHENKO, D. (Dmitrii)" userId="30c9d29d-ac41-46ff-b2be-c3f5dd1e26e1" providerId="ADAL" clId="{B3A474F3-5485-4A93-8981-1E68ACC9F057}" dt="2023-02-02T18:31:40.886" v="779" actId="1036"/>
          <ac:spMkLst>
            <pc:docMk/>
            <pc:sldMk cId="1098944605" sldId="2134806354"/>
            <ac:spMk id="32" creationId="{5F1045F2-C4DF-54A7-F2C2-7FD7EDEC2008}"/>
          </ac:spMkLst>
        </pc:spChg>
        <pc:spChg chg="add mod">
          <ac:chgData name="STEPANCHENKO, D. (Dmitrii)" userId="30c9d29d-ac41-46ff-b2be-c3f5dd1e26e1" providerId="ADAL" clId="{B3A474F3-5485-4A93-8981-1E68ACC9F057}" dt="2023-02-02T19:21:35.127" v="2046" actId="1036"/>
          <ac:spMkLst>
            <pc:docMk/>
            <pc:sldMk cId="1098944605" sldId="2134806354"/>
            <ac:spMk id="33" creationId="{E20DFE2A-A534-8736-0B3A-8330307F0667}"/>
          </ac:spMkLst>
        </pc:spChg>
        <pc:spChg chg="add mod">
          <ac:chgData name="STEPANCHENKO, D. (Dmitrii)" userId="30c9d29d-ac41-46ff-b2be-c3f5dd1e26e1" providerId="ADAL" clId="{B3A474F3-5485-4A93-8981-1E68ACC9F057}" dt="2023-02-03T11:54:04.597" v="4585" actId="20577"/>
          <ac:spMkLst>
            <pc:docMk/>
            <pc:sldMk cId="1098944605" sldId="2134806354"/>
            <ac:spMk id="36" creationId="{3E079531-13A5-4892-6DAC-CD5F6C9A3AAF}"/>
          </ac:spMkLst>
        </pc:spChg>
        <pc:spChg chg="add mod">
          <ac:chgData name="STEPANCHENKO, D. (Dmitrii)" userId="30c9d29d-ac41-46ff-b2be-c3f5dd1e26e1" providerId="ADAL" clId="{B3A474F3-5485-4A93-8981-1E68ACC9F057}" dt="2023-02-02T19:21:35.127" v="2046" actId="1036"/>
          <ac:spMkLst>
            <pc:docMk/>
            <pc:sldMk cId="1098944605" sldId="2134806354"/>
            <ac:spMk id="38" creationId="{85E8FE80-1AA6-51F6-2B6B-4D8C670CE255}"/>
          </ac:spMkLst>
        </pc:spChg>
        <pc:spChg chg="add mod">
          <ac:chgData name="STEPANCHENKO, D. (Dmitrii)" userId="30c9d29d-ac41-46ff-b2be-c3f5dd1e26e1" providerId="ADAL" clId="{B3A474F3-5485-4A93-8981-1E68ACC9F057}" dt="2023-02-02T19:21:35.127" v="2046" actId="1036"/>
          <ac:spMkLst>
            <pc:docMk/>
            <pc:sldMk cId="1098944605" sldId="2134806354"/>
            <ac:spMk id="40" creationId="{77785C50-DCEE-C328-E96C-84E2081D6FB3}"/>
          </ac:spMkLst>
        </pc:spChg>
        <pc:spChg chg="add mod">
          <ac:chgData name="STEPANCHENKO, D. (Dmitrii)" userId="30c9d29d-ac41-46ff-b2be-c3f5dd1e26e1" providerId="ADAL" clId="{B3A474F3-5485-4A93-8981-1E68ACC9F057}" dt="2023-02-03T11:44:10.119" v="4469" actId="20577"/>
          <ac:spMkLst>
            <pc:docMk/>
            <pc:sldMk cId="1098944605" sldId="2134806354"/>
            <ac:spMk id="42" creationId="{9A5F33B5-7715-4CB3-AED9-AC01FA407A85}"/>
          </ac:spMkLst>
        </pc:spChg>
        <pc:spChg chg="add del">
          <ac:chgData name="STEPANCHENKO, D. (Dmitrii)" userId="30c9d29d-ac41-46ff-b2be-c3f5dd1e26e1" providerId="ADAL" clId="{B3A474F3-5485-4A93-8981-1E68ACC9F057}" dt="2023-02-02T18:50:35.791" v="1705" actId="11529"/>
          <ac:spMkLst>
            <pc:docMk/>
            <pc:sldMk cId="1098944605" sldId="2134806354"/>
            <ac:spMk id="46" creationId="{B126443A-C879-DB2D-CF99-82CF4F782E32}"/>
          </ac:spMkLst>
        </pc:spChg>
        <pc:spChg chg="add del mod">
          <ac:chgData name="STEPANCHENKO, D. (Dmitrii)" userId="30c9d29d-ac41-46ff-b2be-c3f5dd1e26e1" providerId="ADAL" clId="{B3A474F3-5485-4A93-8981-1E68ACC9F057}" dt="2023-02-02T19:21:29.105" v="2024" actId="478"/>
          <ac:spMkLst>
            <pc:docMk/>
            <pc:sldMk cId="1098944605" sldId="2134806354"/>
            <ac:spMk id="47" creationId="{BE19C3B8-7E90-3936-7226-7B0303AADC99}"/>
          </ac:spMkLst>
        </pc:spChg>
        <pc:spChg chg="add del mod">
          <ac:chgData name="STEPANCHENKO, D. (Dmitrii)" userId="30c9d29d-ac41-46ff-b2be-c3f5dd1e26e1" providerId="ADAL" clId="{B3A474F3-5485-4A93-8981-1E68ACC9F057}" dt="2023-02-02T19:21:29.105" v="2024" actId="478"/>
          <ac:spMkLst>
            <pc:docMk/>
            <pc:sldMk cId="1098944605" sldId="2134806354"/>
            <ac:spMk id="48" creationId="{177A5F38-9739-C6B0-976C-302CF43A2AA8}"/>
          </ac:spMkLst>
        </pc:spChg>
        <pc:picChg chg="add mod">
          <ac:chgData name="STEPANCHENKO, D. (Dmitrii)" userId="30c9d29d-ac41-46ff-b2be-c3f5dd1e26e1" providerId="ADAL" clId="{B3A474F3-5485-4A93-8981-1E68ACC9F057}" dt="2023-02-02T18:31:30.462" v="737" actId="14100"/>
          <ac:picMkLst>
            <pc:docMk/>
            <pc:sldMk cId="1098944605" sldId="2134806354"/>
            <ac:picMk id="28" creationId="{6C793684-DA0C-5D7D-3C6B-393111001F18}"/>
          </ac:picMkLst>
        </pc:picChg>
        <pc:cxnChg chg="add mod">
          <ac:chgData name="STEPANCHENKO, D. (Dmitrii)" userId="30c9d29d-ac41-46ff-b2be-c3f5dd1e26e1" providerId="ADAL" clId="{B3A474F3-5485-4A93-8981-1E68ACC9F057}" dt="2023-02-02T19:21:35.127" v="2046" actId="1036"/>
          <ac:cxnSpMkLst>
            <pc:docMk/>
            <pc:sldMk cId="1098944605" sldId="2134806354"/>
            <ac:cxnSpMk id="35" creationId="{E6FE4E7D-1D34-B95E-A499-1861ECA8B294}"/>
          </ac:cxnSpMkLst>
        </pc:cxnChg>
        <pc:cxnChg chg="add del mod">
          <ac:chgData name="STEPANCHENKO, D. (Dmitrii)" userId="30c9d29d-ac41-46ff-b2be-c3f5dd1e26e1" providerId="ADAL" clId="{B3A474F3-5485-4A93-8981-1E68ACC9F057}" dt="2023-02-02T18:49:06.629" v="1670" actId="478"/>
          <ac:cxnSpMkLst>
            <pc:docMk/>
            <pc:sldMk cId="1098944605" sldId="2134806354"/>
            <ac:cxnSpMk id="37" creationId="{3BB1BFF9-AC59-9C0B-C7A7-95CD28D86683}"/>
          </ac:cxnSpMkLst>
        </pc:cxnChg>
        <pc:cxnChg chg="add del mod">
          <ac:chgData name="STEPANCHENKO, D. (Dmitrii)" userId="30c9d29d-ac41-46ff-b2be-c3f5dd1e26e1" providerId="ADAL" clId="{B3A474F3-5485-4A93-8981-1E68ACC9F057}" dt="2023-02-02T18:49:06.629" v="1670" actId="478"/>
          <ac:cxnSpMkLst>
            <pc:docMk/>
            <pc:sldMk cId="1098944605" sldId="2134806354"/>
            <ac:cxnSpMk id="39" creationId="{C5319B84-5F66-CAE9-9DB3-C28FBD833EAE}"/>
          </ac:cxnSpMkLst>
        </pc:cxnChg>
        <pc:cxnChg chg="add del mod">
          <ac:chgData name="STEPANCHENKO, D. (Dmitrii)" userId="30c9d29d-ac41-46ff-b2be-c3f5dd1e26e1" providerId="ADAL" clId="{B3A474F3-5485-4A93-8981-1E68ACC9F057}" dt="2023-02-02T18:49:06.629" v="1670" actId="478"/>
          <ac:cxnSpMkLst>
            <pc:docMk/>
            <pc:sldMk cId="1098944605" sldId="2134806354"/>
            <ac:cxnSpMk id="41" creationId="{1B325457-AECA-A1E0-8444-69D4915A5665}"/>
          </ac:cxnSpMkLst>
        </pc:cxnChg>
        <pc:cxnChg chg="add mod">
          <ac:chgData name="STEPANCHENKO, D. (Dmitrii)" userId="30c9d29d-ac41-46ff-b2be-c3f5dd1e26e1" providerId="ADAL" clId="{B3A474F3-5485-4A93-8981-1E68ACC9F057}" dt="2023-02-02T19:21:35.127" v="2046" actId="1036"/>
          <ac:cxnSpMkLst>
            <pc:docMk/>
            <pc:sldMk cId="1098944605" sldId="2134806354"/>
            <ac:cxnSpMk id="43" creationId="{A4CC6D6F-42B4-BD32-F214-CE2EE686726D}"/>
          </ac:cxnSpMkLst>
        </pc:cxnChg>
        <pc:cxnChg chg="add mod">
          <ac:chgData name="STEPANCHENKO, D. (Dmitrii)" userId="30c9d29d-ac41-46ff-b2be-c3f5dd1e26e1" providerId="ADAL" clId="{B3A474F3-5485-4A93-8981-1E68ACC9F057}" dt="2023-02-02T19:21:35.127" v="2046" actId="1036"/>
          <ac:cxnSpMkLst>
            <pc:docMk/>
            <pc:sldMk cId="1098944605" sldId="2134806354"/>
            <ac:cxnSpMk id="44" creationId="{9B819088-06E2-B36B-65EB-7AB4F412E117}"/>
          </ac:cxnSpMkLst>
        </pc:cxnChg>
        <pc:cxnChg chg="add mod">
          <ac:chgData name="STEPANCHENKO, D. (Dmitrii)" userId="30c9d29d-ac41-46ff-b2be-c3f5dd1e26e1" providerId="ADAL" clId="{B3A474F3-5485-4A93-8981-1E68ACC9F057}" dt="2023-02-02T19:21:35.127" v="2046" actId="1036"/>
          <ac:cxnSpMkLst>
            <pc:docMk/>
            <pc:sldMk cId="1098944605" sldId="2134806354"/>
            <ac:cxnSpMk id="45" creationId="{0DCA9C1F-E974-524B-108F-888416170AD1}"/>
          </ac:cxnSpMkLst>
        </pc:cxnChg>
      </pc:sldChg>
      <pc:sldChg chg="addSp delSp modSp add mod ord">
        <pc:chgData name="STEPANCHENKO, D. (Dmitrii)" userId="30c9d29d-ac41-46ff-b2be-c3f5dd1e26e1" providerId="ADAL" clId="{B3A474F3-5485-4A93-8981-1E68ACC9F057}" dt="2023-02-05T11:26:39.868" v="8484" actId="207"/>
        <pc:sldMkLst>
          <pc:docMk/>
          <pc:sldMk cId="2104593195" sldId="2134806355"/>
        </pc:sldMkLst>
        <pc:spChg chg="add del mod">
          <ac:chgData name="STEPANCHENKO, D. (Dmitrii)" userId="30c9d29d-ac41-46ff-b2be-c3f5dd1e26e1" providerId="ADAL" clId="{B3A474F3-5485-4A93-8981-1E68ACC9F057}" dt="2023-02-05T11:03:30.678" v="7588" actId="478"/>
          <ac:spMkLst>
            <pc:docMk/>
            <pc:sldMk cId="2104593195" sldId="2134806355"/>
            <ac:spMk id="3" creationId="{045058D7-B51E-D43C-FF13-E4066AB6D01E}"/>
          </ac:spMkLst>
        </pc:spChg>
        <pc:spChg chg="mod">
          <ac:chgData name="STEPANCHENKO, D. (Dmitrii)" userId="30c9d29d-ac41-46ff-b2be-c3f5dd1e26e1" providerId="ADAL" clId="{B3A474F3-5485-4A93-8981-1E68ACC9F057}" dt="2023-02-03T09:23:36.137" v="3386" actId="20577"/>
          <ac:spMkLst>
            <pc:docMk/>
            <pc:sldMk cId="2104593195" sldId="2134806355"/>
            <ac:spMk id="5" creationId="{81BD1123-3626-1C45-BF5B-1C1864FA8AFA}"/>
          </ac:spMkLst>
        </pc:spChg>
        <pc:spChg chg="add mod">
          <ac:chgData name="STEPANCHENKO, D. (Dmitrii)" userId="30c9d29d-ac41-46ff-b2be-c3f5dd1e26e1" providerId="ADAL" clId="{B3A474F3-5485-4A93-8981-1E68ACC9F057}" dt="2023-02-05T11:11:03.448" v="8099" actId="1036"/>
          <ac:spMkLst>
            <pc:docMk/>
            <pc:sldMk cId="2104593195" sldId="2134806355"/>
            <ac:spMk id="6" creationId="{F8F7B6F6-480C-BC02-9625-3BB8A8392025}"/>
          </ac:spMkLst>
        </pc:spChg>
        <pc:spChg chg="add mod">
          <ac:chgData name="STEPANCHENKO, D. (Dmitrii)" userId="30c9d29d-ac41-46ff-b2be-c3f5dd1e26e1" providerId="ADAL" clId="{B3A474F3-5485-4A93-8981-1E68ACC9F057}" dt="2023-02-05T11:26:39.868" v="8484" actId="207"/>
          <ac:spMkLst>
            <pc:docMk/>
            <pc:sldMk cId="2104593195" sldId="2134806355"/>
            <ac:spMk id="8" creationId="{F11D3742-CF40-E007-1538-B06A5BE4DF00}"/>
          </ac:spMkLst>
        </pc:spChg>
        <pc:spChg chg="add mod">
          <ac:chgData name="STEPANCHENKO, D. (Dmitrii)" userId="30c9d29d-ac41-46ff-b2be-c3f5dd1e26e1" providerId="ADAL" clId="{B3A474F3-5485-4A93-8981-1E68ACC9F057}" dt="2023-02-05T11:10:25.157" v="8064" actId="14100"/>
          <ac:spMkLst>
            <pc:docMk/>
            <pc:sldMk cId="2104593195" sldId="2134806355"/>
            <ac:spMk id="9" creationId="{4C313E30-499E-6F2E-FCC6-290F2158277F}"/>
          </ac:spMkLst>
        </pc:spChg>
        <pc:spChg chg="add mod">
          <ac:chgData name="STEPANCHENKO, D. (Dmitrii)" userId="30c9d29d-ac41-46ff-b2be-c3f5dd1e26e1" providerId="ADAL" clId="{B3A474F3-5485-4A93-8981-1E68ACC9F057}" dt="2023-02-05T11:10:48.257" v="8087" actId="1035"/>
          <ac:spMkLst>
            <pc:docMk/>
            <pc:sldMk cId="2104593195" sldId="2134806355"/>
            <ac:spMk id="10" creationId="{06902B11-2E62-6667-4DA4-588903EA564A}"/>
          </ac:spMkLst>
        </pc:spChg>
        <pc:spChg chg="add mod">
          <ac:chgData name="STEPANCHENKO, D. (Dmitrii)" userId="30c9d29d-ac41-46ff-b2be-c3f5dd1e26e1" providerId="ADAL" clId="{B3A474F3-5485-4A93-8981-1E68ACC9F057}" dt="2023-02-05T11:26:17.342" v="8474" actId="207"/>
          <ac:spMkLst>
            <pc:docMk/>
            <pc:sldMk cId="2104593195" sldId="2134806355"/>
            <ac:spMk id="11" creationId="{BAF46B7A-A5FA-3049-5BEB-F797CE535516}"/>
          </ac:spMkLst>
        </pc:spChg>
        <pc:spChg chg="add mod">
          <ac:chgData name="STEPANCHENKO, D. (Dmitrii)" userId="30c9d29d-ac41-46ff-b2be-c3f5dd1e26e1" providerId="ADAL" clId="{B3A474F3-5485-4A93-8981-1E68ACC9F057}" dt="2023-02-05T11:10:48.257" v="8087" actId="1035"/>
          <ac:spMkLst>
            <pc:docMk/>
            <pc:sldMk cId="2104593195" sldId="2134806355"/>
            <ac:spMk id="12" creationId="{A93478A3-6C9D-A223-9CB7-FD2BD0C93586}"/>
          </ac:spMkLst>
        </pc:spChg>
        <pc:spChg chg="add mod">
          <ac:chgData name="STEPANCHENKO, D. (Dmitrii)" userId="30c9d29d-ac41-46ff-b2be-c3f5dd1e26e1" providerId="ADAL" clId="{B3A474F3-5485-4A93-8981-1E68ACC9F057}" dt="2023-02-05T11:26:39.868" v="8484" actId="207"/>
          <ac:spMkLst>
            <pc:docMk/>
            <pc:sldMk cId="2104593195" sldId="2134806355"/>
            <ac:spMk id="13" creationId="{BE519FF1-1A77-0B1C-D0B9-EA4DD1972371}"/>
          </ac:spMkLst>
        </pc:spChg>
        <pc:spChg chg="add mod">
          <ac:chgData name="STEPANCHENKO, D. (Dmitrii)" userId="30c9d29d-ac41-46ff-b2be-c3f5dd1e26e1" providerId="ADAL" clId="{B3A474F3-5485-4A93-8981-1E68ACC9F057}" dt="2023-02-05T11:26:17.342" v="8474" actId="207"/>
          <ac:spMkLst>
            <pc:docMk/>
            <pc:sldMk cId="2104593195" sldId="2134806355"/>
            <ac:spMk id="14" creationId="{D11DE9F9-0FE8-6B19-637C-295C7F0C2F2A}"/>
          </ac:spMkLst>
        </pc:spChg>
        <pc:spChg chg="add mod">
          <ac:chgData name="STEPANCHENKO, D. (Dmitrii)" userId="30c9d29d-ac41-46ff-b2be-c3f5dd1e26e1" providerId="ADAL" clId="{B3A474F3-5485-4A93-8981-1E68ACC9F057}" dt="2023-02-05T11:26:18.657" v="8479" actId="113"/>
          <ac:spMkLst>
            <pc:docMk/>
            <pc:sldMk cId="2104593195" sldId="2134806355"/>
            <ac:spMk id="15" creationId="{F4296020-F564-77A7-4AFB-B495ED415644}"/>
          </ac:spMkLst>
        </pc:spChg>
        <pc:spChg chg="add mod">
          <ac:chgData name="STEPANCHENKO, D. (Dmitrii)" userId="30c9d29d-ac41-46ff-b2be-c3f5dd1e26e1" providerId="ADAL" clId="{B3A474F3-5485-4A93-8981-1E68ACC9F057}" dt="2023-02-05T11:26:21.959" v="8483" actId="255"/>
          <ac:spMkLst>
            <pc:docMk/>
            <pc:sldMk cId="2104593195" sldId="2134806355"/>
            <ac:spMk id="16" creationId="{193F4ADE-0A65-F57E-BC67-EB1EC48C95B4}"/>
          </ac:spMkLst>
        </pc:spChg>
        <pc:spChg chg="add mod">
          <ac:chgData name="STEPANCHENKO, D. (Dmitrii)" userId="30c9d29d-ac41-46ff-b2be-c3f5dd1e26e1" providerId="ADAL" clId="{B3A474F3-5485-4A93-8981-1E68ACC9F057}" dt="2023-02-05T11:10:48.257" v="8087" actId="1035"/>
          <ac:spMkLst>
            <pc:docMk/>
            <pc:sldMk cId="2104593195" sldId="2134806355"/>
            <ac:spMk id="17" creationId="{C305597E-9E2E-EDF6-59E8-9605794AAA2B}"/>
          </ac:spMkLst>
        </pc:spChg>
        <pc:spChg chg="add mod">
          <ac:chgData name="STEPANCHENKO, D. (Dmitrii)" userId="30c9d29d-ac41-46ff-b2be-c3f5dd1e26e1" providerId="ADAL" clId="{B3A474F3-5485-4A93-8981-1E68ACC9F057}" dt="2023-02-05T11:26:18.657" v="8479" actId="113"/>
          <ac:spMkLst>
            <pc:docMk/>
            <pc:sldMk cId="2104593195" sldId="2134806355"/>
            <ac:spMk id="18" creationId="{B18081E6-1A5D-9381-138A-880A4AF120CB}"/>
          </ac:spMkLst>
        </pc:spChg>
        <pc:spChg chg="add mod">
          <ac:chgData name="STEPANCHENKO, D. (Dmitrii)" userId="30c9d29d-ac41-46ff-b2be-c3f5dd1e26e1" providerId="ADAL" clId="{B3A474F3-5485-4A93-8981-1E68ACC9F057}" dt="2023-02-05T11:26:18.657" v="8479" actId="113"/>
          <ac:spMkLst>
            <pc:docMk/>
            <pc:sldMk cId="2104593195" sldId="2134806355"/>
            <ac:spMk id="19" creationId="{494538AF-12C1-B927-2CC4-DF45A4C74607}"/>
          </ac:spMkLst>
        </pc:spChg>
        <pc:spChg chg="add mod">
          <ac:chgData name="STEPANCHENKO, D. (Dmitrii)" userId="30c9d29d-ac41-46ff-b2be-c3f5dd1e26e1" providerId="ADAL" clId="{B3A474F3-5485-4A93-8981-1E68ACC9F057}" dt="2023-02-05T11:10:48.257" v="8087" actId="1035"/>
          <ac:spMkLst>
            <pc:docMk/>
            <pc:sldMk cId="2104593195" sldId="2134806355"/>
            <ac:spMk id="20" creationId="{05FF9D23-6E32-1FE6-88D1-96A5C8688681}"/>
          </ac:spMkLst>
        </pc:spChg>
        <pc:spChg chg="add mod">
          <ac:chgData name="STEPANCHENKO, D. (Dmitrii)" userId="30c9d29d-ac41-46ff-b2be-c3f5dd1e26e1" providerId="ADAL" clId="{B3A474F3-5485-4A93-8981-1E68ACC9F057}" dt="2023-02-05T11:26:16.628" v="8469" actId="207"/>
          <ac:spMkLst>
            <pc:docMk/>
            <pc:sldMk cId="2104593195" sldId="2134806355"/>
            <ac:spMk id="21" creationId="{B17FDB00-A216-6486-09ED-8B6F60BF30B7}"/>
          </ac:spMkLst>
        </pc:spChg>
        <pc:spChg chg="add mod">
          <ac:chgData name="STEPANCHENKO, D. (Dmitrii)" userId="30c9d29d-ac41-46ff-b2be-c3f5dd1e26e1" providerId="ADAL" clId="{B3A474F3-5485-4A93-8981-1E68ACC9F057}" dt="2023-02-05T11:26:17.201" v="8473" actId="14100"/>
          <ac:spMkLst>
            <pc:docMk/>
            <pc:sldMk cId="2104593195" sldId="2134806355"/>
            <ac:spMk id="22" creationId="{E70B54BB-732B-F5DB-33CB-764F3173DB4A}"/>
          </ac:spMkLst>
        </pc:spChg>
        <pc:spChg chg="add mod">
          <ac:chgData name="STEPANCHENKO, D. (Dmitrii)" userId="30c9d29d-ac41-46ff-b2be-c3f5dd1e26e1" providerId="ADAL" clId="{B3A474F3-5485-4A93-8981-1E68ACC9F057}" dt="2023-02-05T11:10:42.009" v="8072" actId="1038"/>
          <ac:spMkLst>
            <pc:docMk/>
            <pc:sldMk cId="2104593195" sldId="2134806355"/>
            <ac:spMk id="23" creationId="{A444F367-76F8-269F-F225-DF33FD5E5231}"/>
          </ac:spMkLst>
        </pc:spChg>
        <pc:spChg chg="add mod">
          <ac:chgData name="STEPANCHENKO, D. (Dmitrii)" userId="30c9d29d-ac41-46ff-b2be-c3f5dd1e26e1" providerId="ADAL" clId="{B3A474F3-5485-4A93-8981-1E68ACC9F057}" dt="2023-02-05T11:10:59.739" v="8089" actId="1076"/>
          <ac:spMkLst>
            <pc:docMk/>
            <pc:sldMk cId="2104593195" sldId="2134806355"/>
            <ac:spMk id="24" creationId="{7ED1B693-89ED-7AEE-266A-78AFF593665F}"/>
          </ac:spMkLst>
        </pc:spChg>
        <pc:spChg chg="add mod">
          <ac:chgData name="STEPANCHENKO, D. (Dmitrii)" userId="30c9d29d-ac41-46ff-b2be-c3f5dd1e26e1" providerId="ADAL" clId="{B3A474F3-5485-4A93-8981-1E68ACC9F057}" dt="2023-02-05T11:26:17.084" v="8472" actId="113"/>
          <ac:spMkLst>
            <pc:docMk/>
            <pc:sldMk cId="2104593195" sldId="2134806355"/>
            <ac:spMk id="25" creationId="{1DEB96A2-4F6F-EEAF-790C-13ACEC7ED094}"/>
          </ac:spMkLst>
        </pc:spChg>
        <pc:spChg chg="add mod">
          <ac:chgData name="STEPANCHENKO, D. (Dmitrii)" userId="30c9d29d-ac41-46ff-b2be-c3f5dd1e26e1" providerId="ADAL" clId="{B3A474F3-5485-4A93-8981-1E68ACC9F057}" dt="2023-02-05T11:26:17.201" v="8473" actId="14100"/>
          <ac:spMkLst>
            <pc:docMk/>
            <pc:sldMk cId="2104593195" sldId="2134806355"/>
            <ac:spMk id="26" creationId="{A2D31C75-366E-F6BE-82BC-2890FDA31487}"/>
          </ac:spMkLst>
        </pc:spChg>
        <pc:spChg chg="add mod">
          <ac:chgData name="STEPANCHENKO, D. (Dmitrii)" userId="30c9d29d-ac41-46ff-b2be-c3f5dd1e26e1" providerId="ADAL" clId="{B3A474F3-5485-4A93-8981-1E68ACC9F057}" dt="2023-02-05T11:23:15.406" v="8400" actId="207"/>
          <ac:spMkLst>
            <pc:docMk/>
            <pc:sldMk cId="2104593195" sldId="2134806355"/>
            <ac:spMk id="27" creationId="{44734C1F-001A-089E-8F62-9EF42641D903}"/>
          </ac:spMkLst>
        </pc:spChg>
        <pc:spChg chg="add mod">
          <ac:chgData name="STEPANCHENKO, D. (Dmitrii)" userId="30c9d29d-ac41-46ff-b2be-c3f5dd1e26e1" providerId="ADAL" clId="{B3A474F3-5485-4A93-8981-1E68ACC9F057}" dt="2023-02-05T11:23:15.406" v="8400" actId="207"/>
          <ac:spMkLst>
            <pc:docMk/>
            <pc:sldMk cId="2104593195" sldId="2134806355"/>
            <ac:spMk id="28" creationId="{108B31E4-51B5-2507-B378-74EA9DE48FBB}"/>
          </ac:spMkLst>
        </pc:spChg>
        <pc:spChg chg="add mod">
          <ac:chgData name="STEPANCHENKO, D. (Dmitrii)" userId="30c9d29d-ac41-46ff-b2be-c3f5dd1e26e1" providerId="ADAL" clId="{B3A474F3-5485-4A93-8981-1E68ACC9F057}" dt="2023-02-05T11:23:21.715" v="8401" actId="2085"/>
          <ac:spMkLst>
            <pc:docMk/>
            <pc:sldMk cId="2104593195" sldId="2134806355"/>
            <ac:spMk id="29" creationId="{8F3D40BB-563C-4D5B-8ADB-7A4A6739F607}"/>
          </ac:spMkLst>
        </pc:spChg>
        <pc:spChg chg="add mod">
          <ac:chgData name="STEPANCHENKO, D. (Dmitrii)" userId="30c9d29d-ac41-46ff-b2be-c3f5dd1e26e1" providerId="ADAL" clId="{B3A474F3-5485-4A93-8981-1E68ACC9F057}" dt="2023-02-05T11:23:21.715" v="8401" actId="2085"/>
          <ac:spMkLst>
            <pc:docMk/>
            <pc:sldMk cId="2104593195" sldId="2134806355"/>
            <ac:spMk id="30" creationId="{574BFA49-CF6C-4880-42A6-3F7ECCC758D2}"/>
          </ac:spMkLst>
        </pc:spChg>
        <pc:graphicFrameChg chg="add del">
          <ac:chgData name="STEPANCHENKO, D. (Dmitrii)" userId="30c9d29d-ac41-46ff-b2be-c3f5dd1e26e1" providerId="ADAL" clId="{B3A474F3-5485-4A93-8981-1E68ACC9F057}" dt="2023-02-05T10:35:19.942" v="7169" actId="478"/>
          <ac:graphicFrameMkLst>
            <pc:docMk/>
            <pc:sldMk cId="2104593195" sldId="2134806355"/>
            <ac:graphicFrameMk id="7" creationId="{3712E2BA-B287-171F-7DD9-4E31DA641E46}"/>
          </ac:graphicFrameMkLst>
        </pc:graphicFrameChg>
      </pc:sldChg>
      <pc:sldChg chg="addSp delSp modSp add mod ord delAnim modAnim">
        <pc:chgData name="STEPANCHENKO, D. (Dmitrii)" userId="30c9d29d-ac41-46ff-b2be-c3f5dd1e26e1" providerId="ADAL" clId="{B3A474F3-5485-4A93-8981-1E68ACC9F057}" dt="2023-02-05T10:49:47.695" v="7335" actId="27918"/>
        <pc:sldMkLst>
          <pc:docMk/>
          <pc:sldMk cId="3369279782" sldId="2134806356"/>
        </pc:sldMkLst>
        <pc:spChg chg="add mod">
          <ac:chgData name="STEPANCHENKO, D. (Dmitrii)" userId="30c9d29d-ac41-46ff-b2be-c3f5dd1e26e1" providerId="ADAL" clId="{B3A474F3-5485-4A93-8981-1E68ACC9F057}" dt="2023-02-03T10:10:52.958" v="4118" actId="255"/>
          <ac:spMkLst>
            <pc:docMk/>
            <pc:sldMk cId="3369279782" sldId="2134806356"/>
            <ac:spMk id="4" creationId="{3D4CEF53-7021-30E6-B21C-93F1EECE76C9}"/>
          </ac:spMkLst>
        </pc:spChg>
        <pc:spChg chg="mod">
          <ac:chgData name="STEPANCHENKO, D. (Dmitrii)" userId="30c9d29d-ac41-46ff-b2be-c3f5dd1e26e1" providerId="ADAL" clId="{B3A474F3-5485-4A93-8981-1E68ACC9F057}" dt="2023-02-03T09:34:04.001" v="3508" actId="20577"/>
          <ac:spMkLst>
            <pc:docMk/>
            <pc:sldMk cId="3369279782" sldId="2134806356"/>
            <ac:spMk id="5" creationId="{81BD1123-3626-1C45-BF5B-1C1864FA8AFA}"/>
          </ac:spMkLst>
        </pc:spChg>
        <pc:spChg chg="add mod">
          <ac:chgData name="STEPANCHENKO, D. (Dmitrii)" userId="30c9d29d-ac41-46ff-b2be-c3f5dd1e26e1" providerId="ADAL" clId="{B3A474F3-5485-4A93-8981-1E68ACC9F057}" dt="2023-02-03T08:58:47.255" v="3028" actId="208"/>
          <ac:spMkLst>
            <pc:docMk/>
            <pc:sldMk cId="3369279782" sldId="2134806356"/>
            <ac:spMk id="6" creationId="{F9DFA3C5-1578-A196-BDBA-ED3D79BF331D}"/>
          </ac:spMkLst>
        </pc:spChg>
        <pc:graphicFrameChg chg="add mod">
          <ac:chgData name="STEPANCHENKO, D. (Dmitrii)" userId="30c9d29d-ac41-46ff-b2be-c3f5dd1e26e1" providerId="ADAL" clId="{B3A474F3-5485-4A93-8981-1E68ACC9F057}" dt="2023-02-03T09:52:16.459" v="3539" actId="255"/>
          <ac:graphicFrameMkLst>
            <pc:docMk/>
            <pc:sldMk cId="3369279782" sldId="2134806356"/>
            <ac:graphicFrameMk id="3" creationId="{749F503D-81C8-555B-F390-7EC8E6D1A3E2}"/>
          </ac:graphicFrameMkLst>
        </pc:graphicFrameChg>
        <pc:picChg chg="add del mod">
          <ac:chgData name="STEPANCHENKO, D. (Dmitrii)" userId="30c9d29d-ac41-46ff-b2be-c3f5dd1e26e1" providerId="ADAL" clId="{B3A474F3-5485-4A93-8981-1E68ACC9F057}" dt="2023-02-03T10:10:46.435" v="4115" actId="478"/>
          <ac:picMkLst>
            <pc:docMk/>
            <pc:sldMk cId="3369279782" sldId="2134806356"/>
            <ac:picMk id="8" creationId="{323C034A-F658-A913-6EF7-D23BF90973A9}"/>
          </ac:picMkLst>
        </pc:picChg>
        <pc:picChg chg="add mod">
          <ac:chgData name="STEPANCHENKO, D. (Dmitrii)" userId="30c9d29d-ac41-46ff-b2be-c3f5dd1e26e1" providerId="ADAL" clId="{B3A474F3-5485-4A93-8981-1E68ACC9F057}" dt="2023-02-03T10:10:59.244" v="4121" actId="14100"/>
          <ac:picMkLst>
            <pc:docMk/>
            <pc:sldMk cId="3369279782" sldId="2134806356"/>
            <ac:picMk id="9" creationId="{C80B9A66-3428-C538-1BD2-9B9B791E807F}"/>
          </ac:picMkLst>
        </pc:picChg>
      </pc:sldChg>
      <pc:sldChg chg="addSp modSp add mod ord">
        <pc:chgData name="STEPANCHENKO, D. (Dmitrii)" userId="30c9d29d-ac41-46ff-b2be-c3f5dd1e26e1" providerId="ADAL" clId="{B3A474F3-5485-4A93-8981-1E68ACC9F057}" dt="2023-02-03T08:36:07.633" v="2382" actId="1036"/>
        <pc:sldMkLst>
          <pc:docMk/>
          <pc:sldMk cId="507477719" sldId="2134806357"/>
        </pc:sldMkLst>
        <pc:spChg chg="add mod">
          <ac:chgData name="STEPANCHENKO, D. (Dmitrii)" userId="30c9d29d-ac41-46ff-b2be-c3f5dd1e26e1" providerId="ADAL" clId="{B3A474F3-5485-4A93-8981-1E68ACC9F057}" dt="2023-02-03T08:36:07.633" v="2382" actId="1036"/>
          <ac:spMkLst>
            <pc:docMk/>
            <pc:sldMk cId="507477719" sldId="2134806357"/>
            <ac:spMk id="3" creationId="{E6C42D6E-CFFE-B727-ED26-0748BE613269}"/>
          </ac:spMkLst>
        </pc:spChg>
        <pc:spChg chg="mod">
          <ac:chgData name="STEPANCHENKO, D. (Dmitrii)" userId="30c9d29d-ac41-46ff-b2be-c3f5dd1e26e1" providerId="ADAL" clId="{B3A474F3-5485-4A93-8981-1E68ACC9F057}" dt="2023-02-03T08:35:36.299" v="2372" actId="20577"/>
          <ac:spMkLst>
            <pc:docMk/>
            <pc:sldMk cId="507477719" sldId="2134806357"/>
            <ac:spMk id="5" creationId="{81BD1123-3626-1C45-BF5B-1C1864FA8AFA}"/>
          </ac:spMkLst>
        </pc:spChg>
      </pc:sldChg>
      <pc:sldChg chg="addSp modSp add del mod ord">
        <pc:chgData name="STEPANCHENKO, D. (Dmitrii)" userId="30c9d29d-ac41-46ff-b2be-c3f5dd1e26e1" providerId="ADAL" clId="{B3A474F3-5485-4A93-8981-1E68ACC9F057}" dt="2023-02-03T13:26:20.843" v="5442" actId="47"/>
        <pc:sldMkLst>
          <pc:docMk/>
          <pc:sldMk cId="3071024765" sldId="2134806358"/>
        </pc:sldMkLst>
        <pc:spChg chg="add mod">
          <ac:chgData name="STEPANCHENKO, D. (Dmitrii)" userId="30c9d29d-ac41-46ff-b2be-c3f5dd1e26e1" providerId="ADAL" clId="{B3A474F3-5485-4A93-8981-1E68ACC9F057}" dt="2023-02-03T09:30:51.998" v="3506" actId="20577"/>
          <ac:spMkLst>
            <pc:docMk/>
            <pc:sldMk cId="3071024765" sldId="2134806358"/>
            <ac:spMk id="3" creationId="{6FBAE490-C92D-669D-EFF0-5D966A56CD42}"/>
          </ac:spMkLst>
        </pc:spChg>
        <pc:spChg chg="mod">
          <ac:chgData name="STEPANCHENKO, D. (Dmitrii)" userId="30c9d29d-ac41-46ff-b2be-c3f5dd1e26e1" providerId="ADAL" clId="{B3A474F3-5485-4A93-8981-1E68ACC9F057}" dt="2023-02-03T09:30:07.525" v="3427" actId="20577"/>
          <ac:spMkLst>
            <pc:docMk/>
            <pc:sldMk cId="3071024765" sldId="2134806358"/>
            <ac:spMk id="5" creationId="{81BD1123-3626-1C45-BF5B-1C1864FA8AFA}"/>
          </ac:spMkLst>
        </pc:spChg>
      </pc:sldChg>
      <pc:sldChg chg="addSp delSp modSp add mod">
        <pc:chgData name="STEPANCHENKO, D. (Dmitrii)" userId="30c9d29d-ac41-46ff-b2be-c3f5dd1e26e1" providerId="ADAL" clId="{B3A474F3-5485-4A93-8981-1E68ACC9F057}" dt="2023-02-05T07:43:21.571" v="6073" actId="478"/>
        <pc:sldMkLst>
          <pc:docMk/>
          <pc:sldMk cId="1026104641" sldId="2134806359"/>
        </pc:sldMkLst>
        <pc:spChg chg="add del mod">
          <ac:chgData name="STEPANCHENKO, D. (Dmitrii)" userId="30c9d29d-ac41-46ff-b2be-c3f5dd1e26e1" providerId="ADAL" clId="{B3A474F3-5485-4A93-8981-1E68ACC9F057}" dt="2023-02-03T12:51:56.833" v="4903" actId="1036"/>
          <ac:spMkLst>
            <pc:docMk/>
            <pc:sldMk cId="1026104641" sldId="2134806359"/>
            <ac:spMk id="3" creationId="{573CED5A-2C61-3ABB-D8DE-0E2F11EE3918}"/>
          </ac:spMkLst>
        </pc:spChg>
        <pc:spChg chg="mod">
          <ac:chgData name="STEPANCHENKO, D. (Dmitrii)" userId="30c9d29d-ac41-46ff-b2be-c3f5dd1e26e1" providerId="ADAL" clId="{B3A474F3-5485-4A93-8981-1E68ACC9F057}" dt="2023-02-03T12:51:56.833" v="4903" actId="1036"/>
          <ac:spMkLst>
            <pc:docMk/>
            <pc:sldMk cId="1026104641" sldId="2134806359"/>
            <ac:spMk id="4" creationId="{A8077876-DE29-20AE-AE61-7C50584602EC}"/>
          </ac:spMkLst>
        </pc:spChg>
        <pc:spChg chg="mod">
          <ac:chgData name="STEPANCHENKO, D. (Dmitrii)" userId="30c9d29d-ac41-46ff-b2be-c3f5dd1e26e1" providerId="ADAL" clId="{B3A474F3-5485-4A93-8981-1E68ACC9F057}" dt="2023-02-03T12:53:05.887" v="4906" actId="1076"/>
          <ac:spMkLst>
            <pc:docMk/>
            <pc:sldMk cId="1026104641" sldId="2134806359"/>
            <ac:spMk id="5" creationId="{81BD1123-3626-1C45-BF5B-1C1864FA8AFA}"/>
          </ac:spMkLst>
        </pc:spChg>
        <pc:spChg chg="add mod">
          <ac:chgData name="STEPANCHENKO, D. (Dmitrii)" userId="30c9d29d-ac41-46ff-b2be-c3f5dd1e26e1" providerId="ADAL" clId="{B3A474F3-5485-4A93-8981-1E68ACC9F057}" dt="2023-02-03T12:51:56.833" v="4903" actId="1036"/>
          <ac:spMkLst>
            <pc:docMk/>
            <pc:sldMk cId="1026104641" sldId="2134806359"/>
            <ac:spMk id="6" creationId="{257ACACA-8F70-6BE5-9286-2AF16D03EEAB}"/>
          </ac:spMkLst>
        </pc:spChg>
        <pc:spChg chg="add mod">
          <ac:chgData name="STEPANCHENKO, D. (Dmitrii)" userId="30c9d29d-ac41-46ff-b2be-c3f5dd1e26e1" providerId="ADAL" clId="{B3A474F3-5485-4A93-8981-1E68ACC9F057}" dt="2023-02-03T12:51:56.833" v="4903" actId="1036"/>
          <ac:spMkLst>
            <pc:docMk/>
            <pc:sldMk cId="1026104641" sldId="2134806359"/>
            <ac:spMk id="7" creationId="{3C1741CB-04C5-24DF-4E5D-DA34AB99D5ED}"/>
          </ac:spMkLst>
        </pc:spChg>
        <pc:spChg chg="add mod">
          <ac:chgData name="STEPANCHENKO, D. (Dmitrii)" userId="30c9d29d-ac41-46ff-b2be-c3f5dd1e26e1" providerId="ADAL" clId="{B3A474F3-5485-4A93-8981-1E68ACC9F057}" dt="2023-02-03T12:51:56.833" v="4903" actId="1036"/>
          <ac:spMkLst>
            <pc:docMk/>
            <pc:sldMk cId="1026104641" sldId="2134806359"/>
            <ac:spMk id="8" creationId="{8A39181E-37AB-10FA-2F20-A51BA7B3C8E6}"/>
          </ac:spMkLst>
        </pc:spChg>
        <pc:spChg chg="mod">
          <ac:chgData name="STEPANCHENKO, D. (Dmitrii)" userId="30c9d29d-ac41-46ff-b2be-c3f5dd1e26e1" providerId="ADAL" clId="{B3A474F3-5485-4A93-8981-1E68ACC9F057}" dt="2023-02-03T12:51:56.833" v="4903" actId="1036"/>
          <ac:spMkLst>
            <pc:docMk/>
            <pc:sldMk cId="1026104641" sldId="2134806359"/>
            <ac:spMk id="9" creationId="{86B5E6EA-EDC5-026A-2E3F-A47544EC16A6}"/>
          </ac:spMkLst>
        </pc:spChg>
        <pc:spChg chg="add mod">
          <ac:chgData name="STEPANCHENKO, D. (Dmitrii)" userId="30c9d29d-ac41-46ff-b2be-c3f5dd1e26e1" providerId="ADAL" clId="{B3A474F3-5485-4A93-8981-1E68ACC9F057}" dt="2023-02-03T12:51:56.833" v="4903" actId="1036"/>
          <ac:spMkLst>
            <pc:docMk/>
            <pc:sldMk cId="1026104641" sldId="2134806359"/>
            <ac:spMk id="10" creationId="{15D9BF7F-4C90-1394-B66E-CBC7251E95C3}"/>
          </ac:spMkLst>
        </pc:spChg>
        <pc:spChg chg="add mod">
          <ac:chgData name="STEPANCHENKO, D. (Dmitrii)" userId="30c9d29d-ac41-46ff-b2be-c3f5dd1e26e1" providerId="ADAL" clId="{B3A474F3-5485-4A93-8981-1E68ACC9F057}" dt="2023-02-05T07:42:57.111" v="6071" actId="208"/>
          <ac:spMkLst>
            <pc:docMk/>
            <pc:sldMk cId="1026104641" sldId="2134806359"/>
            <ac:spMk id="11" creationId="{C557FDDB-7E16-74F1-CC2E-122FB1FD8878}"/>
          </ac:spMkLst>
        </pc:spChg>
        <pc:spChg chg="mod">
          <ac:chgData name="STEPANCHENKO, D. (Dmitrii)" userId="30c9d29d-ac41-46ff-b2be-c3f5dd1e26e1" providerId="ADAL" clId="{B3A474F3-5485-4A93-8981-1E68ACC9F057}" dt="2023-02-03T12:51:56.833" v="4903" actId="1036"/>
          <ac:spMkLst>
            <pc:docMk/>
            <pc:sldMk cId="1026104641" sldId="2134806359"/>
            <ac:spMk id="12" creationId="{691892AB-BFF6-BC66-B9D9-FB8D87BFF529}"/>
          </ac:spMkLst>
        </pc:spChg>
        <pc:spChg chg="add del mod">
          <ac:chgData name="STEPANCHENKO, D. (Dmitrii)" userId="30c9d29d-ac41-46ff-b2be-c3f5dd1e26e1" providerId="ADAL" clId="{B3A474F3-5485-4A93-8981-1E68ACC9F057}" dt="2023-02-05T07:43:21.571" v="6073" actId="478"/>
          <ac:spMkLst>
            <pc:docMk/>
            <pc:sldMk cId="1026104641" sldId="2134806359"/>
            <ac:spMk id="13" creationId="{31AB62AB-F2F6-C2AA-AC8A-58A7DAC081F8}"/>
          </ac:spMkLst>
        </pc:spChg>
        <pc:spChg chg="mod">
          <ac:chgData name="STEPANCHENKO, D. (Dmitrii)" userId="30c9d29d-ac41-46ff-b2be-c3f5dd1e26e1" providerId="ADAL" clId="{B3A474F3-5485-4A93-8981-1E68ACC9F057}" dt="2023-02-03T12:51:56.833" v="4903" actId="1036"/>
          <ac:spMkLst>
            <pc:docMk/>
            <pc:sldMk cId="1026104641" sldId="2134806359"/>
            <ac:spMk id="14" creationId="{892427F7-B666-F565-1832-A2249DB5DE04}"/>
          </ac:spMkLst>
        </pc:spChg>
        <pc:spChg chg="mod">
          <ac:chgData name="STEPANCHENKO, D. (Dmitrii)" userId="30c9d29d-ac41-46ff-b2be-c3f5dd1e26e1" providerId="ADAL" clId="{B3A474F3-5485-4A93-8981-1E68ACC9F057}" dt="2023-02-03T12:51:56.833" v="4903" actId="1036"/>
          <ac:spMkLst>
            <pc:docMk/>
            <pc:sldMk cId="1026104641" sldId="2134806359"/>
            <ac:spMk id="16" creationId="{29B69AE6-5A8D-881D-1520-5886524BE4E6}"/>
          </ac:spMkLst>
        </pc:spChg>
        <pc:spChg chg="mod">
          <ac:chgData name="STEPANCHENKO, D. (Dmitrii)" userId="30c9d29d-ac41-46ff-b2be-c3f5dd1e26e1" providerId="ADAL" clId="{B3A474F3-5485-4A93-8981-1E68ACC9F057}" dt="2023-02-03T12:51:56.833" v="4903" actId="1036"/>
          <ac:spMkLst>
            <pc:docMk/>
            <pc:sldMk cId="1026104641" sldId="2134806359"/>
            <ac:spMk id="18" creationId="{E14D8F62-D3AA-4637-141A-5C770AE711ED}"/>
          </ac:spMkLst>
        </pc:spChg>
        <pc:spChg chg="mod">
          <ac:chgData name="STEPANCHENKO, D. (Dmitrii)" userId="30c9d29d-ac41-46ff-b2be-c3f5dd1e26e1" providerId="ADAL" clId="{B3A474F3-5485-4A93-8981-1E68ACC9F057}" dt="2023-02-03T12:51:56.833" v="4903" actId="1036"/>
          <ac:spMkLst>
            <pc:docMk/>
            <pc:sldMk cId="1026104641" sldId="2134806359"/>
            <ac:spMk id="20" creationId="{425E587E-EABA-2A90-8599-075A84194267}"/>
          </ac:spMkLst>
        </pc:spChg>
        <pc:spChg chg="mod">
          <ac:chgData name="STEPANCHENKO, D. (Dmitrii)" userId="30c9d29d-ac41-46ff-b2be-c3f5dd1e26e1" providerId="ADAL" clId="{B3A474F3-5485-4A93-8981-1E68ACC9F057}" dt="2023-02-03T12:51:56.833" v="4903" actId="1036"/>
          <ac:spMkLst>
            <pc:docMk/>
            <pc:sldMk cId="1026104641" sldId="2134806359"/>
            <ac:spMk id="22" creationId="{DE84A7F2-A254-2278-5354-3E09DB7CC2D8}"/>
          </ac:spMkLst>
        </pc:spChg>
        <pc:spChg chg="del">
          <ac:chgData name="STEPANCHENKO, D. (Dmitrii)" userId="30c9d29d-ac41-46ff-b2be-c3f5dd1e26e1" providerId="ADAL" clId="{B3A474F3-5485-4A93-8981-1E68ACC9F057}" dt="2023-02-02T18:56:05.236" v="1780" actId="478"/>
          <ac:spMkLst>
            <pc:docMk/>
            <pc:sldMk cId="1026104641" sldId="2134806359"/>
            <ac:spMk id="23" creationId="{B9C219CB-3B12-49F7-7DAB-C92AF856AB57}"/>
          </ac:spMkLst>
        </pc:spChg>
        <pc:spChg chg="del">
          <ac:chgData name="STEPANCHENKO, D. (Dmitrii)" userId="30c9d29d-ac41-46ff-b2be-c3f5dd1e26e1" providerId="ADAL" clId="{B3A474F3-5485-4A93-8981-1E68ACC9F057}" dt="2023-02-02T19:02:23.202" v="1811" actId="478"/>
          <ac:spMkLst>
            <pc:docMk/>
            <pc:sldMk cId="1026104641" sldId="2134806359"/>
            <ac:spMk id="24" creationId="{278664A0-ED84-274D-398C-F12996FE0D12}"/>
          </ac:spMkLst>
        </pc:spChg>
        <pc:spChg chg="del">
          <ac:chgData name="STEPANCHENKO, D. (Dmitrii)" userId="30c9d29d-ac41-46ff-b2be-c3f5dd1e26e1" providerId="ADAL" clId="{B3A474F3-5485-4A93-8981-1E68ACC9F057}" dt="2023-02-02T19:08:48.446" v="1972" actId="478"/>
          <ac:spMkLst>
            <pc:docMk/>
            <pc:sldMk cId="1026104641" sldId="2134806359"/>
            <ac:spMk id="25" creationId="{6A813E22-9F77-D0A9-75EC-EF8307D2D778}"/>
          </ac:spMkLst>
        </pc:spChg>
        <pc:spChg chg="del">
          <ac:chgData name="STEPANCHENKO, D. (Dmitrii)" userId="30c9d29d-ac41-46ff-b2be-c3f5dd1e26e1" providerId="ADAL" clId="{B3A474F3-5485-4A93-8981-1E68ACC9F057}" dt="2023-02-02T19:24:36.555" v="2104" actId="478"/>
          <ac:spMkLst>
            <pc:docMk/>
            <pc:sldMk cId="1026104641" sldId="2134806359"/>
            <ac:spMk id="26" creationId="{1680075F-F374-EBC4-9865-0AA52290493C}"/>
          </ac:spMkLst>
        </pc:spChg>
        <pc:spChg chg="del">
          <ac:chgData name="STEPANCHENKO, D. (Dmitrii)" userId="30c9d29d-ac41-46ff-b2be-c3f5dd1e26e1" providerId="ADAL" clId="{B3A474F3-5485-4A93-8981-1E68ACC9F057}" dt="2023-02-02T18:55:57.278" v="1779" actId="478"/>
          <ac:spMkLst>
            <pc:docMk/>
            <pc:sldMk cId="1026104641" sldId="2134806359"/>
            <ac:spMk id="29" creationId="{ABBA29A4-5C4C-010C-EF18-3287C8E4C44C}"/>
          </ac:spMkLst>
        </pc:spChg>
        <pc:spChg chg="del">
          <ac:chgData name="STEPANCHENKO, D. (Dmitrii)" userId="30c9d29d-ac41-46ff-b2be-c3f5dd1e26e1" providerId="ADAL" clId="{B3A474F3-5485-4A93-8981-1E68ACC9F057}" dt="2023-02-02T18:55:57.278" v="1779" actId="478"/>
          <ac:spMkLst>
            <pc:docMk/>
            <pc:sldMk cId="1026104641" sldId="2134806359"/>
            <ac:spMk id="30" creationId="{8EB843D7-79FA-09D3-5E96-29A330ABCE5F}"/>
          </ac:spMkLst>
        </pc:spChg>
        <pc:spChg chg="del">
          <ac:chgData name="STEPANCHENKO, D. (Dmitrii)" userId="30c9d29d-ac41-46ff-b2be-c3f5dd1e26e1" providerId="ADAL" clId="{B3A474F3-5485-4A93-8981-1E68ACC9F057}" dt="2023-02-02T18:55:57.278" v="1779" actId="478"/>
          <ac:spMkLst>
            <pc:docMk/>
            <pc:sldMk cId="1026104641" sldId="2134806359"/>
            <ac:spMk id="31" creationId="{197F8707-951D-0631-A66C-94FDB1F10A24}"/>
          </ac:spMkLst>
        </pc:spChg>
        <pc:spChg chg="del">
          <ac:chgData name="STEPANCHENKO, D. (Dmitrii)" userId="30c9d29d-ac41-46ff-b2be-c3f5dd1e26e1" providerId="ADAL" clId="{B3A474F3-5485-4A93-8981-1E68ACC9F057}" dt="2023-02-02T18:55:57.278" v="1779" actId="478"/>
          <ac:spMkLst>
            <pc:docMk/>
            <pc:sldMk cId="1026104641" sldId="2134806359"/>
            <ac:spMk id="32" creationId="{5F1045F2-C4DF-54A7-F2C2-7FD7EDEC2008}"/>
          </ac:spMkLst>
        </pc:spChg>
        <pc:spChg chg="del">
          <ac:chgData name="STEPANCHENKO, D. (Dmitrii)" userId="30c9d29d-ac41-46ff-b2be-c3f5dd1e26e1" providerId="ADAL" clId="{B3A474F3-5485-4A93-8981-1E68ACC9F057}" dt="2023-02-02T19:24:36.555" v="2104" actId="478"/>
          <ac:spMkLst>
            <pc:docMk/>
            <pc:sldMk cId="1026104641" sldId="2134806359"/>
            <ac:spMk id="33" creationId="{E20DFE2A-A534-8736-0B3A-8330307F0667}"/>
          </ac:spMkLst>
        </pc:spChg>
        <pc:spChg chg="mod">
          <ac:chgData name="STEPANCHENKO, D. (Dmitrii)" userId="30c9d29d-ac41-46ff-b2be-c3f5dd1e26e1" providerId="ADAL" clId="{B3A474F3-5485-4A93-8981-1E68ACC9F057}" dt="2023-02-03T12:51:56.833" v="4903" actId="1036"/>
          <ac:spMkLst>
            <pc:docMk/>
            <pc:sldMk cId="1026104641" sldId="2134806359"/>
            <ac:spMk id="36" creationId="{3E079531-13A5-4892-6DAC-CD5F6C9A3AAF}"/>
          </ac:spMkLst>
        </pc:spChg>
        <pc:spChg chg="mod">
          <ac:chgData name="STEPANCHENKO, D. (Dmitrii)" userId="30c9d29d-ac41-46ff-b2be-c3f5dd1e26e1" providerId="ADAL" clId="{B3A474F3-5485-4A93-8981-1E68ACC9F057}" dt="2023-02-03T12:51:56.833" v="4903" actId="1036"/>
          <ac:spMkLst>
            <pc:docMk/>
            <pc:sldMk cId="1026104641" sldId="2134806359"/>
            <ac:spMk id="38" creationId="{85E8FE80-1AA6-51F6-2B6B-4D8C670CE255}"/>
          </ac:spMkLst>
        </pc:spChg>
        <pc:spChg chg="mod">
          <ac:chgData name="STEPANCHENKO, D. (Dmitrii)" userId="30c9d29d-ac41-46ff-b2be-c3f5dd1e26e1" providerId="ADAL" clId="{B3A474F3-5485-4A93-8981-1E68ACC9F057}" dt="2023-02-03T12:51:56.833" v="4903" actId="1036"/>
          <ac:spMkLst>
            <pc:docMk/>
            <pc:sldMk cId="1026104641" sldId="2134806359"/>
            <ac:spMk id="40" creationId="{77785C50-DCEE-C328-E96C-84E2081D6FB3}"/>
          </ac:spMkLst>
        </pc:spChg>
        <pc:spChg chg="mod">
          <ac:chgData name="STEPANCHENKO, D. (Dmitrii)" userId="30c9d29d-ac41-46ff-b2be-c3f5dd1e26e1" providerId="ADAL" clId="{B3A474F3-5485-4A93-8981-1E68ACC9F057}" dt="2023-02-03T12:51:56.833" v="4903" actId="1036"/>
          <ac:spMkLst>
            <pc:docMk/>
            <pc:sldMk cId="1026104641" sldId="2134806359"/>
            <ac:spMk id="42" creationId="{9A5F33B5-7715-4CB3-AED9-AC01FA407A85}"/>
          </ac:spMkLst>
        </pc:spChg>
        <pc:spChg chg="del">
          <ac:chgData name="STEPANCHENKO, D. (Dmitrii)" userId="30c9d29d-ac41-46ff-b2be-c3f5dd1e26e1" providerId="ADAL" clId="{B3A474F3-5485-4A93-8981-1E68ACC9F057}" dt="2023-02-02T19:24:29.111" v="2103" actId="478"/>
          <ac:spMkLst>
            <pc:docMk/>
            <pc:sldMk cId="1026104641" sldId="2134806359"/>
            <ac:spMk id="47" creationId="{BE19C3B8-7E90-3936-7226-7B0303AADC99}"/>
          </ac:spMkLst>
        </pc:spChg>
        <pc:spChg chg="del">
          <ac:chgData name="STEPANCHENKO, D. (Dmitrii)" userId="30c9d29d-ac41-46ff-b2be-c3f5dd1e26e1" providerId="ADAL" clId="{B3A474F3-5485-4A93-8981-1E68ACC9F057}" dt="2023-02-02T19:24:29.111" v="2103" actId="478"/>
          <ac:spMkLst>
            <pc:docMk/>
            <pc:sldMk cId="1026104641" sldId="2134806359"/>
            <ac:spMk id="48" creationId="{177A5F38-9739-C6B0-976C-302CF43A2AA8}"/>
          </ac:spMkLst>
        </pc:spChg>
        <pc:picChg chg="del">
          <ac:chgData name="STEPANCHENKO, D. (Dmitrii)" userId="30c9d29d-ac41-46ff-b2be-c3f5dd1e26e1" providerId="ADAL" clId="{B3A474F3-5485-4A93-8981-1E68ACC9F057}" dt="2023-02-02T18:55:57.278" v="1779" actId="478"/>
          <ac:picMkLst>
            <pc:docMk/>
            <pc:sldMk cId="1026104641" sldId="2134806359"/>
            <ac:picMk id="28" creationId="{6C793684-DA0C-5D7D-3C6B-393111001F18}"/>
          </ac:picMkLst>
        </pc:picChg>
        <pc:cxnChg chg="mod">
          <ac:chgData name="STEPANCHENKO, D. (Dmitrii)" userId="30c9d29d-ac41-46ff-b2be-c3f5dd1e26e1" providerId="ADAL" clId="{B3A474F3-5485-4A93-8981-1E68ACC9F057}" dt="2023-02-03T12:51:56.833" v="4903" actId="1036"/>
          <ac:cxnSpMkLst>
            <pc:docMk/>
            <pc:sldMk cId="1026104641" sldId="2134806359"/>
            <ac:cxnSpMk id="35" creationId="{E6FE4E7D-1D34-B95E-A499-1861ECA8B294}"/>
          </ac:cxnSpMkLst>
        </pc:cxnChg>
        <pc:cxnChg chg="mod">
          <ac:chgData name="STEPANCHENKO, D. (Dmitrii)" userId="30c9d29d-ac41-46ff-b2be-c3f5dd1e26e1" providerId="ADAL" clId="{B3A474F3-5485-4A93-8981-1E68ACC9F057}" dt="2023-02-03T12:51:56.833" v="4903" actId="1036"/>
          <ac:cxnSpMkLst>
            <pc:docMk/>
            <pc:sldMk cId="1026104641" sldId="2134806359"/>
            <ac:cxnSpMk id="43" creationId="{A4CC6D6F-42B4-BD32-F214-CE2EE686726D}"/>
          </ac:cxnSpMkLst>
        </pc:cxnChg>
        <pc:cxnChg chg="mod">
          <ac:chgData name="STEPANCHENKO, D. (Dmitrii)" userId="30c9d29d-ac41-46ff-b2be-c3f5dd1e26e1" providerId="ADAL" clId="{B3A474F3-5485-4A93-8981-1E68ACC9F057}" dt="2023-02-03T12:51:56.833" v="4903" actId="1036"/>
          <ac:cxnSpMkLst>
            <pc:docMk/>
            <pc:sldMk cId="1026104641" sldId="2134806359"/>
            <ac:cxnSpMk id="44" creationId="{9B819088-06E2-B36B-65EB-7AB4F412E117}"/>
          </ac:cxnSpMkLst>
        </pc:cxnChg>
        <pc:cxnChg chg="mod">
          <ac:chgData name="STEPANCHENKO, D. (Dmitrii)" userId="30c9d29d-ac41-46ff-b2be-c3f5dd1e26e1" providerId="ADAL" clId="{B3A474F3-5485-4A93-8981-1E68ACC9F057}" dt="2023-02-03T12:51:56.833" v="4903" actId="1036"/>
          <ac:cxnSpMkLst>
            <pc:docMk/>
            <pc:sldMk cId="1026104641" sldId="2134806359"/>
            <ac:cxnSpMk id="45" creationId="{0DCA9C1F-E974-524B-108F-888416170AD1}"/>
          </ac:cxnSpMkLst>
        </pc:cxnChg>
      </pc:sldChg>
      <pc:sldChg chg="addSp delSp modSp add mod ord">
        <pc:chgData name="STEPANCHENKO, D. (Dmitrii)" userId="30c9d29d-ac41-46ff-b2be-c3f5dd1e26e1" providerId="ADAL" clId="{B3A474F3-5485-4A93-8981-1E68ACC9F057}" dt="2023-02-05T10:49:47.460" v="7334" actId="27918"/>
        <pc:sldMkLst>
          <pc:docMk/>
          <pc:sldMk cId="3050701029" sldId="2134806360"/>
        </pc:sldMkLst>
        <pc:spChg chg="add mod">
          <ac:chgData name="STEPANCHENKO, D. (Dmitrii)" userId="30c9d29d-ac41-46ff-b2be-c3f5dd1e26e1" providerId="ADAL" clId="{B3A474F3-5485-4A93-8981-1E68ACC9F057}" dt="2023-02-03T13:13:11.739" v="4997" actId="1035"/>
          <ac:spMkLst>
            <pc:docMk/>
            <pc:sldMk cId="3050701029" sldId="2134806360"/>
            <ac:spMk id="3" creationId="{799FEC2B-CF67-AFD4-D2C1-5FEB03E68CCB}"/>
          </ac:spMkLst>
        </pc:spChg>
        <pc:spChg chg="mod">
          <ac:chgData name="STEPANCHENKO, D. (Dmitrii)" userId="30c9d29d-ac41-46ff-b2be-c3f5dd1e26e1" providerId="ADAL" clId="{B3A474F3-5485-4A93-8981-1E68ACC9F057}" dt="2023-02-03T09:34:34.125" v="3517" actId="20577"/>
          <ac:spMkLst>
            <pc:docMk/>
            <pc:sldMk cId="3050701029" sldId="2134806360"/>
            <ac:spMk id="5" creationId="{81BD1123-3626-1C45-BF5B-1C1864FA8AFA}"/>
          </ac:spMkLst>
        </pc:spChg>
        <pc:spChg chg="add mod ord">
          <ac:chgData name="STEPANCHENKO, D. (Dmitrii)" userId="30c9d29d-ac41-46ff-b2be-c3f5dd1e26e1" providerId="ADAL" clId="{B3A474F3-5485-4A93-8981-1E68ACC9F057}" dt="2023-02-03T13:13:11.739" v="4997" actId="1035"/>
          <ac:spMkLst>
            <pc:docMk/>
            <pc:sldMk cId="3050701029" sldId="2134806360"/>
            <ac:spMk id="7" creationId="{CB537DF0-2C56-FAB1-4735-FE84E6143B55}"/>
          </ac:spMkLst>
        </pc:spChg>
        <pc:spChg chg="add mod ord">
          <ac:chgData name="STEPANCHENKO, D. (Dmitrii)" userId="30c9d29d-ac41-46ff-b2be-c3f5dd1e26e1" providerId="ADAL" clId="{B3A474F3-5485-4A93-8981-1E68ACC9F057}" dt="2023-02-03T13:13:11.739" v="4997" actId="1035"/>
          <ac:spMkLst>
            <pc:docMk/>
            <pc:sldMk cId="3050701029" sldId="2134806360"/>
            <ac:spMk id="8" creationId="{72EA6943-2A64-55C9-8B2E-AEB90109CCCB}"/>
          </ac:spMkLst>
        </pc:spChg>
        <pc:spChg chg="add mod">
          <ac:chgData name="STEPANCHENKO, D. (Dmitrii)" userId="30c9d29d-ac41-46ff-b2be-c3f5dd1e26e1" providerId="ADAL" clId="{B3A474F3-5485-4A93-8981-1E68ACC9F057}" dt="2023-02-03T13:13:11.739" v="4997" actId="1035"/>
          <ac:spMkLst>
            <pc:docMk/>
            <pc:sldMk cId="3050701029" sldId="2134806360"/>
            <ac:spMk id="9" creationId="{DB2F9749-4F12-033E-0E64-F0FAA3D570BE}"/>
          </ac:spMkLst>
        </pc:spChg>
        <pc:spChg chg="add mod">
          <ac:chgData name="STEPANCHENKO, D. (Dmitrii)" userId="30c9d29d-ac41-46ff-b2be-c3f5dd1e26e1" providerId="ADAL" clId="{B3A474F3-5485-4A93-8981-1E68ACC9F057}" dt="2023-02-03T13:13:11.739" v="4997" actId="1035"/>
          <ac:spMkLst>
            <pc:docMk/>
            <pc:sldMk cId="3050701029" sldId="2134806360"/>
            <ac:spMk id="10" creationId="{5D576874-2D00-2366-A04F-0F3F042ADD75}"/>
          </ac:spMkLst>
        </pc:spChg>
        <pc:spChg chg="add mod">
          <ac:chgData name="STEPANCHENKO, D. (Dmitrii)" userId="30c9d29d-ac41-46ff-b2be-c3f5dd1e26e1" providerId="ADAL" clId="{B3A474F3-5485-4A93-8981-1E68ACC9F057}" dt="2023-02-03T13:13:11.739" v="4997" actId="1035"/>
          <ac:spMkLst>
            <pc:docMk/>
            <pc:sldMk cId="3050701029" sldId="2134806360"/>
            <ac:spMk id="11" creationId="{8504C119-BEA9-524C-1022-727C4AE30907}"/>
          </ac:spMkLst>
        </pc:spChg>
        <pc:spChg chg="add mod">
          <ac:chgData name="STEPANCHENKO, D. (Dmitrii)" userId="30c9d29d-ac41-46ff-b2be-c3f5dd1e26e1" providerId="ADAL" clId="{B3A474F3-5485-4A93-8981-1E68ACC9F057}" dt="2023-02-03T13:13:11.739" v="4997" actId="1035"/>
          <ac:spMkLst>
            <pc:docMk/>
            <pc:sldMk cId="3050701029" sldId="2134806360"/>
            <ac:spMk id="12" creationId="{47F2669B-94AC-24C6-A408-E70BDDD2ED3A}"/>
          </ac:spMkLst>
        </pc:spChg>
        <pc:spChg chg="add mod">
          <ac:chgData name="STEPANCHENKO, D. (Dmitrii)" userId="30c9d29d-ac41-46ff-b2be-c3f5dd1e26e1" providerId="ADAL" clId="{B3A474F3-5485-4A93-8981-1E68ACC9F057}" dt="2023-02-03T10:10:09.629" v="4093" actId="1076"/>
          <ac:spMkLst>
            <pc:docMk/>
            <pc:sldMk cId="3050701029" sldId="2134806360"/>
            <ac:spMk id="13" creationId="{5D58D87C-1A2A-7499-C081-34D5F8E8C488}"/>
          </ac:spMkLst>
        </pc:spChg>
        <pc:spChg chg="add mod">
          <ac:chgData name="STEPANCHENKO, D. (Dmitrii)" userId="30c9d29d-ac41-46ff-b2be-c3f5dd1e26e1" providerId="ADAL" clId="{B3A474F3-5485-4A93-8981-1E68ACC9F057}" dt="2023-02-03T13:15:14.704" v="5061" actId="20577"/>
          <ac:spMkLst>
            <pc:docMk/>
            <pc:sldMk cId="3050701029" sldId="2134806360"/>
            <ac:spMk id="16" creationId="{78C475F6-4FB8-CD0D-9D36-50D2F655CF94}"/>
          </ac:spMkLst>
        </pc:spChg>
        <pc:graphicFrameChg chg="add del mod">
          <ac:chgData name="STEPANCHENKO, D. (Dmitrii)" userId="30c9d29d-ac41-46ff-b2be-c3f5dd1e26e1" providerId="ADAL" clId="{B3A474F3-5485-4A93-8981-1E68ACC9F057}" dt="2023-02-03T09:46:36.885" v="3534" actId="478"/>
          <ac:graphicFrameMkLst>
            <pc:docMk/>
            <pc:sldMk cId="3050701029" sldId="2134806360"/>
            <ac:graphicFrameMk id="4" creationId="{FB8C3C90-E4E7-5104-1963-E01B545F4080}"/>
          </ac:graphicFrameMkLst>
        </pc:graphicFrameChg>
        <pc:graphicFrameChg chg="add mod">
          <ac:chgData name="STEPANCHENKO, D. (Dmitrii)" userId="30c9d29d-ac41-46ff-b2be-c3f5dd1e26e1" providerId="ADAL" clId="{B3A474F3-5485-4A93-8981-1E68ACC9F057}" dt="2023-02-03T13:13:11.739" v="4997" actId="1035"/>
          <ac:graphicFrameMkLst>
            <pc:docMk/>
            <pc:sldMk cId="3050701029" sldId="2134806360"/>
            <ac:graphicFrameMk id="6" creationId="{FB8C3C90-E4E7-5104-1963-E01B545F4080}"/>
          </ac:graphicFrameMkLst>
        </pc:graphicFrameChg>
        <pc:picChg chg="add mod">
          <ac:chgData name="STEPANCHENKO, D. (Dmitrii)" userId="30c9d29d-ac41-46ff-b2be-c3f5dd1e26e1" providerId="ADAL" clId="{B3A474F3-5485-4A93-8981-1E68ACC9F057}" dt="2023-02-03T13:13:11.739" v="4997" actId="1035"/>
          <ac:picMkLst>
            <pc:docMk/>
            <pc:sldMk cId="3050701029" sldId="2134806360"/>
            <ac:picMk id="15" creationId="{C90AD324-2A4D-D37E-352B-BFA5715A5DF7}"/>
          </ac:picMkLst>
        </pc:picChg>
      </pc:sldChg>
      <pc:sldChg chg="addSp delSp modSp add mod">
        <pc:chgData name="STEPANCHENKO, D. (Dmitrii)" userId="30c9d29d-ac41-46ff-b2be-c3f5dd1e26e1" providerId="ADAL" clId="{B3A474F3-5485-4A93-8981-1E68ACC9F057}" dt="2023-02-04T11:06:10.158" v="6069" actId="20577"/>
        <pc:sldMkLst>
          <pc:docMk/>
          <pc:sldMk cId="150677344" sldId="2134806361"/>
        </pc:sldMkLst>
        <pc:spChg chg="add mod">
          <ac:chgData name="STEPANCHENKO, D. (Dmitrii)" userId="30c9d29d-ac41-46ff-b2be-c3f5dd1e26e1" providerId="ADAL" clId="{B3A474F3-5485-4A93-8981-1E68ACC9F057}" dt="2023-02-04T11:06:10.158" v="6069" actId="20577"/>
          <ac:spMkLst>
            <pc:docMk/>
            <pc:sldMk cId="150677344" sldId="2134806361"/>
            <ac:spMk id="4" creationId="{F3FC11F7-4389-FD87-68D7-2BA322BB672C}"/>
          </ac:spMkLst>
        </pc:spChg>
        <pc:spChg chg="mod">
          <ac:chgData name="STEPANCHENKO, D. (Dmitrii)" userId="30c9d29d-ac41-46ff-b2be-c3f5dd1e26e1" providerId="ADAL" clId="{B3A474F3-5485-4A93-8981-1E68ACC9F057}" dt="2023-02-03T13:18:46.820" v="5165" actId="14100"/>
          <ac:spMkLst>
            <pc:docMk/>
            <pc:sldMk cId="150677344" sldId="2134806361"/>
            <ac:spMk id="5" creationId="{81BD1123-3626-1C45-BF5B-1C1864FA8AFA}"/>
          </ac:spMkLst>
        </pc:spChg>
        <pc:spChg chg="add mod">
          <ac:chgData name="STEPANCHENKO, D. (Dmitrii)" userId="30c9d29d-ac41-46ff-b2be-c3f5dd1e26e1" providerId="ADAL" clId="{B3A474F3-5485-4A93-8981-1E68ACC9F057}" dt="2023-02-04T11:01:46.470" v="5785" actId="207"/>
          <ac:spMkLst>
            <pc:docMk/>
            <pc:sldMk cId="150677344" sldId="2134806361"/>
            <ac:spMk id="8" creationId="{CED36A94-2A1B-92BF-60BC-84B5F178D9B3}"/>
          </ac:spMkLst>
        </pc:spChg>
        <pc:spChg chg="add mod">
          <ac:chgData name="STEPANCHENKO, D. (Dmitrii)" userId="30c9d29d-ac41-46ff-b2be-c3f5dd1e26e1" providerId="ADAL" clId="{B3A474F3-5485-4A93-8981-1E68ACC9F057}" dt="2023-02-04T11:03:23.101" v="5842" actId="207"/>
          <ac:spMkLst>
            <pc:docMk/>
            <pc:sldMk cId="150677344" sldId="2134806361"/>
            <ac:spMk id="9" creationId="{AE8F7173-697A-28B5-0FD7-C04595058490}"/>
          </ac:spMkLst>
        </pc:spChg>
        <pc:spChg chg="add mod">
          <ac:chgData name="STEPANCHENKO, D. (Dmitrii)" userId="30c9d29d-ac41-46ff-b2be-c3f5dd1e26e1" providerId="ADAL" clId="{B3A474F3-5485-4A93-8981-1E68ACC9F057}" dt="2023-02-04T11:03:23.101" v="5842" actId="207"/>
          <ac:spMkLst>
            <pc:docMk/>
            <pc:sldMk cId="150677344" sldId="2134806361"/>
            <ac:spMk id="10" creationId="{F91D739C-F102-6C96-6AE6-8BE3084D218D}"/>
          </ac:spMkLst>
        </pc:spChg>
        <pc:spChg chg="add mod">
          <ac:chgData name="STEPANCHENKO, D. (Dmitrii)" userId="30c9d29d-ac41-46ff-b2be-c3f5dd1e26e1" providerId="ADAL" clId="{B3A474F3-5485-4A93-8981-1E68ACC9F057}" dt="2023-02-04T11:03:36.439" v="5847" actId="1076"/>
          <ac:spMkLst>
            <pc:docMk/>
            <pc:sldMk cId="150677344" sldId="2134806361"/>
            <ac:spMk id="11" creationId="{01B06DAC-BDA3-BBB7-A725-79AEDDD08B87}"/>
          </ac:spMkLst>
        </pc:spChg>
        <pc:spChg chg="add mod">
          <ac:chgData name="STEPANCHENKO, D. (Dmitrii)" userId="30c9d29d-ac41-46ff-b2be-c3f5dd1e26e1" providerId="ADAL" clId="{B3A474F3-5485-4A93-8981-1E68ACC9F057}" dt="2023-02-04T11:03:46.846" v="5850" actId="1076"/>
          <ac:spMkLst>
            <pc:docMk/>
            <pc:sldMk cId="150677344" sldId="2134806361"/>
            <ac:spMk id="12" creationId="{A5AC931C-5E67-9EE3-62BE-F570BEF88F37}"/>
          </ac:spMkLst>
        </pc:spChg>
        <pc:graphicFrameChg chg="add del mod">
          <ac:chgData name="STEPANCHENKO, D. (Dmitrii)" userId="30c9d29d-ac41-46ff-b2be-c3f5dd1e26e1" providerId="ADAL" clId="{B3A474F3-5485-4A93-8981-1E68ACC9F057}" dt="2023-02-04T10:59:57.519" v="5722" actId="478"/>
          <ac:graphicFrameMkLst>
            <pc:docMk/>
            <pc:sldMk cId="150677344" sldId="2134806361"/>
            <ac:graphicFrameMk id="3" creationId="{C8C5817E-D605-A8B6-72E4-90CB4A721C54}"/>
          </ac:graphicFrameMkLst>
        </pc:graphicFrameChg>
        <pc:picChg chg="add mod">
          <ac:chgData name="STEPANCHENKO, D. (Dmitrii)" userId="30c9d29d-ac41-46ff-b2be-c3f5dd1e26e1" providerId="ADAL" clId="{B3A474F3-5485-4A93-8981-1E68ACC9F057}" dt="2023-02-04T11:03:31.649" v="5845" actId="1076"/>
          <ac:picMkLst>
            <pc:docMk/>
            <pc:sldMk cId="150677344" sldId="2134806361"/>
            <ac:picMk id="7" creationId="{C3CD989C-9B31-5294-1A74-BF5F573C47DA}"/>
          </ac:picMkLst>
        </pc:picChg>
      </pc:sldChg>
      <pc:sldChg chg="addSp delSp modSp add mod">
        <pc:chgData name="STEPANCHENKO, D. (Dmitrii)" userId="30c9d29d-ac41-46ff-b2be-c3f5dd1e26e1" providerId="ADAL" clId="{B3A474F3-5485-4A93-8981-1E68ACC9F057}" dt="2023-02-05T10:16:36.824" v="7011" actId="27918"/>
        <pc:sldMkLst>
          <pc:docMk/>
          <pc:sldMk cId="2024875999" sldId="2134806362"/>
        </pc:sldMkLst>
        <pc:spChg chg="mod">
          <ac:chgData name="STEPANCHENKO, D. (Dmitrii)" userId="30c9d29d-ac41-46ff-b2be-c3f5dd1e26e1" providerId="ADAL" clId="{B3A474F3-5485-4A93-8981-1E68ACC9F057}" dt="2023-02-03T13:19:26.985" v="5186"/>
          <ac:spMkLst>
            <pc:docMk/>
            <pc:sldMk cId="2024875999" sldId="2134806362"/>
            <ac:spMk id="5" creationId="{81BD1123-3626-1C45-BF5B-1C1864FA8AFA}"/>
          </ac:spMkLst>
        </pc:spChg>
        <pc:spChg chg="add mod">
          <ac:chgData name="STEPANCHENKO, D. (Dmitrii)" userId="30c9d29d-ac41-46ff-b2be-c3f5dd1e26e1" providerId="ADAL" clId="{B3A474F3-5485-4A93-8981-1E68ACC9F057}" dt="2023-02-05T08:14:37.054" v="6756" actId="1035"/>
          <ac:spMkLst>
            <pc:docMk/>
            <pc:sldMk cId="2024875999" sldId="2134806362"/>
            <ac:spMk id="6" creationId="{C48FDFFD-03A4-C48E-D28F-C9FED01E1D5A}"/>
          </ac:spMkLst>
        </pc:spChg>
        <pc:spChg chg="add del mod">
          <ac:chgData name="STEPANCHENKO, D. (Dmitrii)" userId="30c9d29d-ac41-46ff-b2be-c3f5dd1e26e1" providerId="ADAL" clId="{B3A474F3-5485-4A93-8981-1E68ACC9F057}" dt="2023-02-05T08:09:08.510" v="6343"/>
          <ac:spMkLst>
            <pc:docMk/>
            <pc:sldMk cId="2024875999" sldId="2134806362"/>
            <ac:spMk id="7" creationId="{5FB9D2DD-F96B-1C57-4514-145EFE75E33C}"/>
          </ac:spMkLst>
        </pc:spChg>
        <pc:spChg chg="add mod">
          <ac:chgData name="STEPANCHENKO, D. (Dmitrii)" userId="30c9d29d-ac41-46ff-b2be-c3f5dd1e26e1" providerId="ADAL" clId="{B3A474F3-5485-4A93-8981-1E68ACC9F057}" dt="2023-02-05T08:09:50.417" v="6367" actId="1076"/>
          <ac:spMkLst>
            <pc:docMk/>
            <pc:sldMk cId="2024875999" sldId="2134806362"/>
            <ac:spMk id="8" creationId="{935A407E-9175-D469-AD30-CD99AA0B5470}"/>
          </ac:spMkLst>
        </pc:spChg>
        <pc:graphicFrameChg chg="add del mod">
          <ac:chgData name="STEPANCHENKO, D. (Dmitrii)" userId="30c9d29d-ac41-46ff-b2be-c3f5dd1e26e1" providerId="ADAL" clId="{B3A474F3-5485-4A93-8981-1E68ACC9F057}" dt="2023-02-05T08:00:10.913" v="6086" actId="478"/>
          <ac:graphicFrameMkLst>
            <pc:docMk/>
            <pc:sldMk cId="2024875999" sldId="2134806362"/>
            <ac:graphicFrameMk id="3" creationId="{C8C5817E-D605-A8B6-72E4-90CB4A721C54}"/>
          </ac:graphicFrameMkLst>
        </pc:graphicFrameChg>
        <pc:graphicFrameChg chg="add mod">
          <ac:chgData name="STEPANCHENKO, D. (Dmitrii)" userId="30c9d29d-ac41-46ff-b2be-c3f5dd1e26e1" providerId="ADAL" clId="{B3A474F3-5485-4A93-8981-1E68ACC9F057}" dt="2023-02-05T08:09:15.673" v="6346"/>
          <ac:graphicFrameMkLst>
            <pc:docMk/>
            <pc:sldMk cId="2024875999" sldId="2134806362"/>
            <ac:graphicFrameMk id="4" creationId="{C8C5817E-D605-A8B6-72E4-90CB4A721C54}"/>
          </ac:graphicFrameMkLst>
        </pc:graphicFrameChg>
        <pc:cxnChg chg="add mod">
          <ac:chgData name="STEPANCHENKO, D. (Dmitrii)" userId="30c9d29d-ac41-46ff-b2be-c3f5dd1e26e1" providerId="ADAL" clId="{B3A474F3-5485-4A93-8981-1E68ACC9F057}" dt="2023-02-05T08:10:05.170" v="6369" actId="208"/>
          <ac:cxnSpMkLst>
            <pc:docMk/>
            <pc:sldMk cId="2024875999" sldId="2134806362"/>
            <ac:cxnSpMk id="10" creationId="{003A6042-C5DD-45C7-9C1D-DB54A46D95DC}"/>
          </ac:cxnSpMkLst>
        </pc:cxnChg>
      </pc:sldChg>
      <pc:sldChg chg="modSp add mod modShow">
        <pc:chgData name="STEPANCHENKO, D. (Dmitrii)" userId="30c9d29d-ac41-46ff-b2be-c3f5dd1e26e1" providerId="ADAL" clId="{B3A474F3-5485-4A93-8981-1E68ACC9F057}" dt="2023-02-05T08:17:14.549" v="6757" actId="729"/>
        <pc:sldMkLst>
          <pc:docMk/>
          <pc:sldMk cId="1030256302" sldId="2134806363"/>
        </pc:sldMkLst>
        <pc:spChg chg="mod">
          <ac:chgData name="STEPANCHENKO, D. (Dmitrii)" userId="30c9d29d-ac41-46ff-b2be-c3f5dd1e26e1" providerId="ADAL" clId="{B3A474F3-5485-4A93-8981-1E68ACC9F057}" dt="2023-02-03T13:21:56.919" v="5299" actId="20577"/>
          <ac:spMkLst>
            <pc:docMk/>
            <pc:sldMk cId="1030256302" sldId="2134806363"/>
            <ac:spMk id="5" creationId="{81BD1123-3626-1C45-BF5B-1C1864FA8AFA}"/>
          </ac:spMkLst>
        </pc:spChg>
      </pc:sldChg>
      <pc:sldChg chg="addSp delSp modSp add mod modAnim">
        <pc:chgData name="STEPANCHENKO, D. (Dmitrii)" userId="30c9d29d-ac41-46ff-b2be-c3f5dd1e26e1" providerId="ADAL" clId="{B3A474F3-5485-4A93-8981-1E68ACC9F057}" dt="2023-02-05T10:49:49.993" v="7336" actId="27918"/>
        <pc:sldMkLst>
          <pc:docMk/>
          <pc:sldMk cId="2170462522" sldId="2134806364"/>
        </pc:sldMkLst>
        <pc:spChg chg="mod">
          <ac:chgData name="STEPANCHENKO, D. (Dmitrii)" userId="30c9d29d-ac41-46ff-b2be-c3f5dd1e26e1" providerId="ADAL" clId="{B3A474F3-5485-4A93-8981-1E68ACC9F057}" dt="2023-02-05T08:17:17.975" v="6759" actId="20577"/>
          <ac:spMkLst>
            <pc:docMk/>
            <pc:sldMk cId="2170462522" sldId="2134806364"/>
            <ac:spMk id="5" creationId="{81BD1123-3626-1C45-BF5B-1C1864FA8AFA}"/>
          </ac:spMkLst>
        </pc:spChg>
        <pc:spChg chg="add mod">
          <ac:chgData name="STEPANCHENKO, D. (Dmitrii)" userId="30c9d29d-ac41-46ff-b2be-c3f5dd1e26e1" providerId="ADAL" clId="{B3A474F3-5485-4A93-8981-1E68ACC9F057}" dt="2023-02-05T10:18:49.185" v="7097" actId="1076"/>
          <ac:spMkLst>
            <pc:docMk/>
            <pc:sldMk cId="2170462522" sldId="2134806364"/>
            <ac:spMk id="10" creationId="{820D784B-9292-94A1-2B7A-CC4506C2A2C5}"/>
          </ac:spMkLst>
        </pc:spChg>
        <pc:graphicFrameChg chg="add del mod">
          <ac:chgData name="STEPANCHENKO, D. (Dmitrii)" userId="30c9d29d-ac41-46ff-b2be-c3f5dd1e26e1" providerId="ADAL" clId="{B3A474F3-5485-4A93-8981-1E68ACC9F057}" dt="2023-02-05T10:04:45.997" v="6899" actId="478"/>
          <ac:graphicFrameMkLst>
            <pc:docMk/>
            <pc:sldMk cId="2170462522" sldId="2134806364"/>
            <ac:graphicFrameMk id="3" creationId="{15E1DE83-14A9-C65B-2B64-C0B1C480F5F0}"/>
          </ac:graphicFrameMkLst>
        </pc:graphicFrameChg>
        <pc:graphicFrameChg chg="add mod">
          <ac:chgData name="STEPANCHENKO, D. (Dmitrii)" userId="30c9d29d-ac41-46ff-b2be-c3f5dd1e26e1" providerId="ADAL" clId="{B3A474F3-5485-4A93-8981-1E68ACC9F057}" dt="2023-02-05T10:17:47.707" v="7013" actId="14100"/>
          <ac:graphicFrameMkLst>
            <pc:docMk/>
            <pc:sldMk cId="2170462522" sldId="2134806364"/>
            <ac:graphicFrameMk id="4" creationId="{B159A224-8179-C8AB-CAE9-8339C6F657DD}"/>
          </ac:graphicFrameMkLst>
        </pc:graphicFrameChg>
        <pc:graphicFrameChg chg="add mod">
          <ac:chgData name="STEPANCHENKO, D. (Dmitrii)" userId="30c9d29d-ac41-46ff-b2be-c3f5dd1e26e1" providerId="ADAL" clId="{B3A474F3-5485-4A93-8981-1E68ACC9F057}" dt="2023-02-05T10:17:47.707" v="7013" actId="14100"/>
          <ac:graphicFrameMkLst>
            <pc:docMk/>
            <pc:sldMk cId="2170462522" sldId="2134806364"/>
            <ac:graphicFrameMk id="9" creationId="{AF85494D-3A74-D6D6-345B-A29C0874A7A4}"/>
          </ac:graphicFrameMkLst>
        </pc:graphicFrameChg>
        <pc:cxnChg chg="add mod">
          <ac:chgData name="STEPANCHENKO, D. (Dmitrii)" userId="30c9d29d-ac41-46ff-b2be-c3f5dd1e26e1" providerId="ADAL" clId="{B3A474F3-5485-4A93-8981-1E68ACC9F057}" dt="2023-02-05T10:19:05.427" v="7133" actId="1038"/>
          <ac:cxnSpMkLst>
            <pc:docMk/>
            <pc:sldMk cId="2170462522" sldId="2134806364"/>
            <ac:cxnSpMk id="7" creationId="{5097CF43-5BB5-A4D7-B1C0-64B58D5F9976}"/>
          </ac:cxnSpMkLst>
        </pc:cxnChg>
        <pc:cxnChg chg="add mod">
          <ac:chgData name="STEPANCHENKO, D. (Dmitrii)" userId="30c9d29d-ac41-46ff-b2be-c3f5dd1e26e1" providerId="ADAL" clId="{B3A474F3-5485-4A93-8981-1E68ACC9F057}" dt="2023-02-05T10:19:09.968" v="7166" actId="1038"/>
          <ac:cxnSpMkLst>
            <pc:docMk/>
            <pc:sldMk cId="2170462522" sldId="2134806364"/>
            <ac:cxnSpMk id="8" creationId="{AAA8FA6B-E6E7-3145-7334-4883C3782DD4}"/>
          </ac:cxnSpMkLst>
        </pc:cxnChg>
      </pc:sldChg>
      <pc:sldChg chg="addSp delSp modSp add mod ord">
        <pc:chgData name="STEPANCHENKO, D. (Dmitrii)" userId="30c9d29d-ac41-46ff-b2be-c3f5dd1e26e1" providerId="ADAL" clId="{B3A474F3-5485-4A93-8981-1E68ACC9F057}" dt="2023-02-05T11:31:56.483" v="8487" actId="20577"/>
        <pc:sldMkLst>
          <pc:docMk/>
          <pc:sldMk cId="2009647800" sldId="2134806365"/>
        </pc:sldMkLst>
        <pc:spChg chg="add del mod">
          <ac:chgData name="STEPANCHENKO, D. (Dmitrii)" userId="30c9d29d-ac41-46ff-b2be-c3f5dd1e26e1" providerId="ADAL" clId="{B3A474F3-5485-4A93-8981-1E68ACC9F057}" dt="2023-02-03T11:55:38.367" v="4637" actId="478"/>
          <ac:spMkLst>
            <pc:docMk/>
            <pc:sldMk cId="2009647800" sldId="2134806365"/>
            <ac:spMk id="4" creationId="{24A99F7A-C996-EB89-3EE3-0849D373E964}"/>
          </ac:spMkLst>
        </pc:spChg>
        <pc:spChg chg="mod">
          <ac:chgData name="STEPANCHENKO, D. (Dmitrii)" userId="30c9d29d-ac41-46ff-b2be-c3f5dd1e26e1" providerId="ADAL" clId="{B3A474F3-5485-4A93-8981-1E68ACC9F057}" dt="2023-02-03T11:51:57.385" v="4474" actId="20577"/>
          <ac:spMkLst>
            <pc:docMk/>
            <pc:sldMk cId="2009647800" sldId="2134806365"/>
            <ac:spMk id="5" creationId="{81BD1123-3626-1C45-BF5B-1C1864FA8AFA}"/>
          </ac:spMkLst>
        </pc:spChg>
        <pc:spChg chg="add mod">
          <ac:chgData name="STEPANCHENKO, D. (Dmitrii)" userId="30c9d29d-ac41-46ff-b2be-c3f5dd1e26e1" providerId="ADAL" clId="{B3A474F3-5485-4A93-8981-1E68ACC9F057}" dt="2023-02-05T11:31:56.483" v="8487" actId="20577"/>
          <ac:spMkLst>
            <pc:docMk/>
            <pc:sldMk cId="2009647800" sldId="2134806365"/>
            <ac:spMk id="6" creationId="{0CC4AECF-C07E-D445-7662-1379531BFE9E}"/>
          </ac:spMkLst>
        </pc:spChg>
        <pc:graphicFrameChg chg="add mod">
          <ac:chgData name="STEPANCHENKO, D. (Dmitrii)" userId="30c9d29d-ac41-46ff-b2be-c3f5dd1e26e1" providerId="ADAL" clId="{B3A474F3-5485-4A93-8981-1E68ACC9F057}" dt="2023-02-03T11:55:10.797" v="4632" actId="255"/>
          <ac:graphicFrameMkLst>
            <pc:docMk/>
            <pc:sldMk cId="2009647800" sldId="2134806365"/>
            <ac:graphicFrameMk id="3" creationId="{D14F2AFB-9BE5-1194-5793-3A81C8CBA917}"/>
          </ac:graphicFrameMkLst>
        </pc:graphicFrameChg>
      </pc:sldChg>
      <pc:sldChg chg="modSp add del mod">
        <pc:chgData name="STEPANCHENKO, D. (Dmitrii)" userId="30c9d29d-ac41-46ff-b2be-c3f5dd1e26e1" providerId="ADAL" clId="{B3A474F3-5485-4A93-8981-1E68ACC9F057}" dt="2023-02-03T13:23:50.736" v="5411" actId="47"/>
        <pc:sldMkLst>
          <pc:docMk/>
          <pc:sldMk cId="2537524256" sldId="2134806366"/>
        </pc:sldMkLst>
        <pc:spChg chg="mod">
          <ac:chgData name="STEPANCHENKO, D. (Dmitrii)" userId="30c9d29d-ac41-46ff-b2be-c3f5dd1e26e1" providerId="ADAL" clId="{B3A474F3-5485-4A93-8981-1E68ACC9F057}" dt="2023-02-03T13:23:26.958" v="5410" actId="20577"/>
          <ac:spMkLst>
            <pc:docMk/>
            <pc:sldMk cId="2537524256" sldId="2134806366"/>
            <ac:spMk id="5" creationId="{81BD1123-3626-1C45-BF5B-1C1864FA8AFA}"/>
          </ac:spMkLst>
        </pc:spChg>
      </pc:sldChg>
      <pc:sldChg chg="add del">
        <pc:chgData name="STEPANCHENKO, D. (Dmitrii)" userId="30c9d29d-ac41-46ff-b2be-c3f5dd1e26e1" providerId="ADAL" clId="{B3A474F3-5485-4A93-8981-1E68ACC9F057}" dt="2023-02-03T13:28:06.701" v="5444" actId="47"/>
        <pc:sldMkLst>
          <pc:docMk/>
          <pc:sldMk cId="2932584647" sldId="2134806366"/>
        </pc:sldMkLst>
      </pc:sldChg>
      <pc:sldChg chg="delSp modSp add del mod">
        <pc:chgData name="STEPANCHENKO, D. (Dmitrii)" userId="30c9d29d-ac41-46ff-b2be-c3f5dd1e26e1" providerId="ADAL" clId="{B3A474F3-5485-4A93-8981-1E68ACC9F057}" dt="2023-02-05T11:02:38.098" v="7558" actId="47"/>
        <pc:sldMkLst>
          <pc:docMk/>
          <pc:sldMk cId="3722710193" sldId="2134806366"/>
        </pc:sldMkLst>
        <pc:spChg chg="del">
          <ac:chgData name="STEPANCHENKO, D. (Dmitrii)" userId="30c9d29d-ac41-46ff-b2be-c3f5dd1e26e1" providerId="ADAL" clId="{B3A474F3-5485-4A93-8981-1E68ACC9F057}" dt="2023-02-05T11:02:07.548" v="7546" actId="478"/>
          <ac:spMkLst>
            <pc:docMk/>
            <pc:sldMk cId="3722710193" sldId="2134806366"/>
            <ac:spMk id="3" creationId="{045058D7-B51E-D43C-FF13-E4066AB6D01E}"/>
          </ac:spMkLst>
        </pc:spChg>
        <pc:spChg chg="mod">
          <ac:chgData name="STEPANCHENKO, D. (Dmitrii)" userId="30c9d29d-ac41-46ff-b2be-c3f5dd1e26e1" providerId="ADAL" clId="{B3A474F3-5485-4A93-8981-1E68ACC9F057}" dt="2023-02-05T11:02:13.526" v="7557" actId="20577"/>
          <ac:spMkLst>
            <pc:docMk/>
            <pc:sldMk cId="3722710193" sldId="2134806366"/>
            <ac:spMk id="5" creationId="{81BD1123-3626-1C45-BF5B-1C1864FA8AFA}"/>
          </ac:spMkLst>
        </pc:spChg>
        <pc:spChg chg="del">
          <ac:chgData name="STEPANCHENKO, D. (Dmitrii)" userId="30c9d29d-ac41-46ff-b2be-c3f5dd1e26e1" providerId="ADAL" clId="{B3A474F3-5485-4A93-8981-1E68ACC9F057}" dt="2023-02-05T11:02:07.548" v="7546" actId="478"/>
          <ac:spMkLst>
            <pc:docMk/>
            <pc:sldMk cId="3722710193" sldId="2134806366"/>
            <ac:spMk id="8" creationId="{F11D3742-CF40-E007-1538-B06A5BE4DF00}"/>
          </ac:spMkLst>
        </pc:spChg>
        <pc:spChg chg="del">
          <ac:chgData name="STEPANCHENKO, D. (Dmitrii)" userId="30c9d29d-ac41-46ff-b2be-c3f5dd1e26e1" providerId="ADAL" clId="{B3A474F3-5485-4A93-8981-1E68ACC9F057}" dt="2023-02-05T11:02:07.548" v="7546" actId="478"/>
          <ac:spMkLst>
            <pc:docMk/>
            <pc:sldMk cId="3722710193" sldId="2134806366"/>
            <ac:spMk id="9" creationId="{4C313E30-499E-6F2E-FCC6-290F2158277F}"/>
          </ac:spMkLst>
        </pc:spChg>
        <pc:spChg chg="del">
          <ac:chgData name="STEPANCHENKO, D. (Dmitrii)" userId="30c9d29d-ac41-46ff-b2be-c3f5dd1e26e1" providerId="ADAL" clId="{B3A474F3-5485-4A93-8981-1E68ACC9F057}" dt="2023-02-05T11:02:07.548" v="7546" actId="478"/>
          <ac:spMkLst>
            <pc:docMk/>
            <pc:sldMk cId="3722710193" sldId="2134806366"/>
            <ac:spMk id="10" creationId="{06902B11-2E62-6667-4DA4-588903EA564A}"/>
          </ac:spMkLst>
        </pc:spChg>
        <pc:spChg chg="del">
          <ac:chgData name="STEPANCHENKO, D. (Dmitrii)" userId="30c9d29d-ac41-46ff-b2be-c3f5dd1e26e1" providerId="ADAL" clId="{B3A474F3-5485-4A93-8981-1E68ACC9F057}" dt="2023-02-05T11:02:07.548" v="7546" actId="478"/>
          <ac:spMkLst>
            <pc:docMk/>
            <pc:sldMk cId="3722710193" sldId="2134806366"/>
            <ac:spMk id="11" creationId="{BAF46B7A-A5FA-3049-5BEB-F797CE535516}"/>
          </ac:spMkLst>
        </pc:spChg>
        <pc:spChg chg="del">
          <ac:chgData name="STEPANCHENKO, D. (Dmitrii)" userId="30c9d29d-ac41-46ff-b2be-c3f5dd1e26e1" providerId="ADAL" clId="{B3A474F3-5485-4A93-8981-1E68ACC9F057}" dt="2023-02-05T11:02:07.548" v="7546" actId="478"/>
          <ac:spMkLst>
            <pc:docMk/>
            <pc:sldMk cId="3722710193" sldId="2134806366"/>
            <ac:spMk id="12" creationId="{A93478A3-6C9D-A223-9CB7-FD2BD0C93586}"/>
          </ac:spMkLst>
        </pc:spChg>
        <pc:spChg chg="del">
          <ac:chgData name="STEPANCHENKO, D. (Dmitrii)" userId="30c9d29d-ac41-46ff-b2be-c3f5dd1e26e1" providerId="ADAL" clId="{B3A474F3-5485-4A93-8981-1E68ACC9F057}" dt="2023-02-05T11:02:07.548" v="7546" actId="478"/>
          <ac:spMkLst>
            <pc:docMk/>
            <pc:sldMk cId="3722710193" sldId="2134806366"/>
            <ac:spMk id="13" creationId="{BE519FF1-1A77-0B1C-D0B9-EA4DD1972371}"/>
          </ac:spMkLst>
        </pc:spChg>
        <pc:spChg chg="del">
          <ac:chgData name="STEPANCHENKO, D. (Dmitrii)" userId="30c9d29d-ac41-46ff-b2be-c3f5dd1e26e1" providerId="ADAL" clId="{B3A474F3-5485-4A93-8981-1E68ACC9F057}" dt="2023-02-05T11:02:07.548" v="7546" actId="478"/>
          <ac:spMkLst>
            <pc:docMk/>
            <pc:sldMk cId="3722710193" sldId="2134806366"/>
            <ac:spMk id="14" creationId="{D11DE9F9-0FE8-6B19-637C-295C7F0C2F2A}"/>
          </ac:spMkLst>
        </pc:spChg>
        <pc:spChg chg="del">
          <ac:chgData name="STEPANCHENKO, D. (Dmitrii)" userId="30c9d29d-ac41-46ff-b2be-c3f5dd1e26e1" providerId="ADAL" clId="{B3A474F3-5485-4A93-8981-1E68ACC9F057}" dt="2023-02-05T11:02:07.548" v="7546" actId="478"/>
          <ac:spMkLst>
            <pc:docMk/>
            <pc:sldMk cId="3722710193" sldId="2134806366"/>
            <ac:spMk id="15" creationId="{F4296020-F564-77A7-4AFB-B495ED415644}"/>
          </ac:spMkLst>
        </pc:spChg>
        <pc:spChg chg="del">
          <ac:chgData name="STEPANCHENKO, D. (Dmitrii)" userId="30c9d29d-ac41-46ff-b2be-c3f5dd1e26e1" providerId="ADAL" clId="{B3A474F3-5485-4A93-8981-1E68ACC9F057}" dt="2023-02-05T11:02:07.548" v="7546" actId="478"/>
          <ac:spMkLst>
            <pc:docMk/>
            <pc:sldMk cId="3722710193" sldId="2134806366"/>
            <ac:spMk id="16" creationId="{193F4ADE-0A65-F57E-BC67-EB1EC48C95B4}"/>
          </ac:spMkLst>
        </pc:spChg>
        <pc:spChg chg="del">
          <ac:chgData name="STEPANCHENKO, D. (Dmitrii)" userId="30c9d29d-ac41-46ff-b2be-c3f5dd1e26e1" providerId="ADAL" clId="{B3A474F3-5485-4A93-8981-1E68ACC9F057}" dt="2023-02-05T11:02:07.548" v="7546" actId="478"/>
          <ac:spMkLst>
            <pc:docMk/>
            <pc:sldMk cId="3722710193" sldId="2134806366"/>
            <ac:spMk id="17" creationId="{C305597E-9E2E-EDF6-59E8-9605794AAA2B}"/>
          </ac:spMkLst>
        </pc:spChg>
        <pc:spChg chg="del">
          <ac:chgData name="STEPANCHENKO, D. (Dmitrii)" userId="30c9d29d-ac41-46ff-b2be-c3f5dd1e26e1" providerId="ADAL" clId="{B3A474F3-5485-4A93-8981-1E68ACC9F057}" dt="2023-02-05T11:02:07.548" v="7546" actId="478"/>
          <ac:spMkLst>
            <pc:docMk/>
            <pc:sldMk cId="3722710193" sldId="2134806366"/>
            <ac:spMk id="18" creationId="{B18081E6-1A5D-9381-138A-880A4AF120CB}"/>
          </ac:spMkLst>
        </pc:spChg>
        <pc:spChg chg="del">
          <ac:chgData name="STEPANCHENKO, D. (Dmitrii)" userId="30c9d29d-ac41-46ff-b2be-c3f5dd1e26e1" providerId="ADAL" clId="{B3A474F3-5485-4A93-8981-1E68ACC9F057}" dt="2023-02-05T11:02:07.548" v="7546" actId="478"/>
          <ac:spMkLst>
            <pc:docMk/>
            <pc:sldMk cId="3722710193" sldId="2134806366"/>
            <ac:spMk id="19" creationId="{494538AF-12C1-B927-2CC4-DF45A4C74607}"/>
          </ac:spMkLst>
        </pc:spChg>
      </pc:sldChg>
    </pc:docChg>
  </pc:docChgLst>
  <pc:docChgLst>
    <pc:chgData name="STEPANCHENKO, D. (Dmitrii)" userId="30c9d29d-ac41-46ff-b2be-c3f5dd1e26e1" providerId="ADAL" clId="{DE496450-7D01-4B73-AA08-22F30639F919}"/>
    <pc:docChg chg="undo redo custSel addSld delSld modSld sldOrd modSection">
      <pc:chgData name="STEPANCHENKO, D. (Dmitrii)" userId="30c9d29d-ac41-46ff-b2be-c3f5dd1e26e1" providerId="ADAL" clId="{DE496450-7D01-4B73-AA08-22F30639F919}" dt="2023-03-13T18:03:03.223" v="6469" actId="478"/>
      <pc:docMkLst>
        <pc:docMk/>
      </pc:docMkLst>
      <pc:sldChg chg="del">
        <pc:chgData name="STEPANCHENKO, D. (Dmitrii)" userId="30c9d29d-ac41-46ff-b2be-c3f5dd1e26e1" providerId="ADAL" clId="{DE496450-7D01-4B73-AA08-22F30639F919}" dt="2023-02-13T16:14:18.166" v="0" actId="47"/>
        <pc:sldMkLst>
          <pc:docMk/>
          <pc:sldMk cId="1880343008" sldId="2134806241"/>
        </pc:sldMkLst>
      </pc:sldChg>
      <pc:sldChg chg="modSp add mod delCm modCm">
        <pc:chgData name="STEPANCHENKO, D. (Dmitrii)" userId="30c9d29d-ac41-46ff-b2be-c3f5dd1e26e1" providerId="ADAL" clId="{DE496450-7D01-4B73-AA08-22F30639F919}" dt="2023-03-02T12:51:08.762" v="6452"/>
        <pc:sldMkLst>
          <pc:docMk/>
          <pc:sldMk cId="2056939522" sldId="2134806269"/>
        </pc:sldMkLst>
        <pc:spChg chg="mod">
          <ac:chgData name="STEPANCHENKO, D. (Dmitrii)" userId="30c9d29d-ac41-46ff-b2be-c3f5dd1e26e1" providerId="ADAL" clId="{DE496450-7D01-4B73-AA08-22F30639F919}" dt="2023-03-02T12:51:04.377" v="6450" actId="20577"/>
          <ac:spMkLst>
            <pc:docMk/>
            <pc:sldMk cId="2056939522" sldId="2134806269"/>
            <ac:spMk id="5" creationId="{81BD1123-3626-1C45-BF5B-1C1864FA8AFA}"/>
          </ac:spMkLst>
        </pc:spChg>
      </pc:sldChg>
      <pc:sldChg chg="delSp modSp add mod delCm">
        <pc:chgData name="STEPANCHENKO, D. (Dmitrii)" userId="30c9d29d-ac41-46ff-b2be-c3f5dd1e26e1" providerId="ADAL" clId="{DE496450-7D01-4B73-AA08-22F30639F919}" dt="2023-02-27T13:12:18.093" v="4394" actId="478"/>
        <pc:sldMkLst>
          <pc:docMk/>
          <pc:sldMk cId="655907036" sldId="2134806277"/>
        </pc:sldMkLst>
        <pc:spChg chg="del">
          <ac:chgData name="STEPANCHENKO, D. (Dmitrii)" userId="30c9d29d-ac41-46ff-b2be-c3f5dd1e26e1" providerId="ADAL" clId="{DE496450-7D01-4B73-AA08-22F30639F919}" dt="2023-02-27T13:12:18.093" v="4394" actId="478"/>
          <ac:spMkLst>
            <pc:docMk/>
            <pc:sldMk cId="655907036" sldId="2134806277"/>
            <ac:spMk id="4" creationId="{C4133B13-B657-3A61-4CFC-E8D1FD7F40E4}"/>
          </ac:spMkLst>
        </pc:spChg>
        <pc:spChg chg="mod">
          <ac:chgData name="STEPANCHENKO, D. (Dmitrii)" userId="30c9d29d-ac41-46ff-b2be-c3f5dd1e26e1" providerId="ADAL" clId="{DE496450-7D01-4B73-AA08-22F30639F919}" dt="2023-02-27T13:12:04.209" v="4392" actId="20577"/>
          <ac:spMkLst>
            <pc:docMk/>
            <pc:sldMk cId="655907036" sldId="2134806277"/>
            <ac:spMk id="5" creationId="{81BD1123-3626-1C45-BF5B-1C1864FA8AFA}"/>
          </ac:spMkLst>
        </pc:spChg>
        <pc:picChg chg="mod">
          <ac:chgData name="STEPANCHENKO, D. (Dmitrii)" userId="30c9d29d-ac41-46ff-b2be-c3f5dd1e26e1" providerId="ADAL" clId="{DE496450-7D01-4B73-AA08-22F30639F919}" dt="2023-02-26T09:37:23.980" v="1599" actId="1035"/>
          <ac:picMkLst>
            <pc:docMk/>
            <pc:sldMk cId="655907036" sldId="2134806277"/>
            <ac:picMk id="3" creationId="{00000000-0000-0000-0000-000000000000}"/>
          </ac:picMkLst>
        </pc:picChg>
      </pc:sldChg>
      <pc:sldChg chg="addSp delSp modSp mod delAnim modAnim">
        <pc:chgData name="STEPANCHENKO, D. (Dmitrii)" userId="30c9d29d-ac41-46ff-b2be-c3f5dd1e26e1" providerId="ADAL" clId="{DE496450-7D01-4B73-AA08-22F30639F919}" dt="2023-03-13T18:03:03.223" v="6469" actId="478"/>
        <pc:sldMkLst>
          <pc:docMk/>
          <pc:sldMk cId="1455295070" sldId="2134806318"/>
        </pc:sldMkLst>
        <pc:spChg chg="mod">
          <ac:chgData name="STEPANCHENKO, D. (Dmitrii)" userId="30c9d29d-ac41-46ff-b2be-c3f5dd1e26e1" providerId="ADAL" clId="{DE496450-7D01-4B73-AA08-22F30639F919}" dt="2023-02-27T13:04:01.258" v="4193" actId="1035"/>
          <ac:spMkLst>
            <pc:docMk/>
            <pc:sldMk cId="1455295070" sldId="2134806318"/>
            <ac:spMk id="4" creationId="{78C03241-F245-4623-A41A-659673385123}"/>
          </ac:spMkLst>
        </pc:spChg>
        <pc:spChg chg="mod">
          <ac:chgData name="STEPANCHENKO, D. (Dmitrii)" userId="30c9d29d-ac41-46ff-b2be-c3f5dd1e26e1" providerId="ADAL" clId="{DE496450-7D01-4B73-AA08-22F30639F919}" dt="2023-02-26T09:37:44.847" v="1624" actId="20577"/>
          <ac:spMkLst>
            <pc:docMk/>
            <pc:sldMk cId="1455295070" sldId="2134806318"/>
            <ac:spMk id="5" creationId="{81BD1123-3626-1C45-BF5B-1C1864FA8AFA}"/>
          </ac:spMkLst>
        </pc:spChg>
        <pc:spChg chg="add del">
          <ac:chgData name="STEPANCHENKO, D. (Dmitrii)" userId="30c9d29d-ac41-46ff-b2be-c3f5dd1e26e1" providerId="ADAL" clId="{DE496450-7D01-4B73-AA08-22F30639F919}" dt="2023-02-26T10:02:20.988" v="1681" actId="478"/>
          <ac:spMkLst>
            <pc:docMk/>
            <pc:sldMk cId="1455295070" sldId="2134806318"/>
            <ac:spMk id="6" creationId="{3F360AF9-3A84-1032-3B7B-8E7A1ACEF0CF}"/>
          </ac:spMkLst>
        </pc:spChg>
        <pc:spChg chg="add mod">
          <ac:chgData name="STEPANCHENKO, D. (Dmitrii)" userId="30c9d29d-ac41-46ff-b2be-c3f5dd1e26e1" providerId="ADAL" clId="{DE496450-7D01-4B73-AA08-22F30639F919}" dt="2023-03-02T12:42:30.237" v="6375" actId="20577"/>
          <ac:spMkLst>
            <pc:docMk/>
            <pc:sldMk cId="1455295070" sldId="2134806318"/>
            <ac:spMk id="7" creationId="{B92C187B-413D-70B8-CA90-B7ABC467666C}"/>
          </ac:spMkLst>
        </pc:spChg>
        <pc:spChg chg="add mod">
          <ac:chgData name="STEPANCHENKO, D. (Dmitrii)" userId="30c9d29d-ac41-46ff-b2be-c3f5dd1e26e1" providerId="ADAL" clId="{DE496450-7D01-4B73-AA08-22F30639F919}" dt="2023-03-02T12:42:33.692" v="6376" actId="20577"/>
          <ac:spMkLst>
            <pc:docMk/>
            <pc:sldMk cId="1455295070" sldId="2134806318"/>
            <ac:spMk id="8" creationId="{98AD30FC-4CF9-3888-369C-17272652FF02}"/>
          </ac:spMkLst>
        </pc:spChg>
        <pc:spChg chg="add mod">
          <ac:chgData name="STEPANCHENKO, D. (Dmitrii)" userId="30c9d29d-ac41-46ff-b2be-c3f5dd1e26e1" providerId="ADAL" clId="{DE496450-7D01-4B73-AA08-22F30639F919}" dt="2023-03-02T12:42:36.324" v="6377" actId="20577"/>
          <ac:spMkLst>
            <pc:docMk/>
            <pc:sldMk cId="1455295070" sldId="2134806318"/>
            <ac:spMk id="9" creationId="{08727B74-27B0-22CE-3B6E-9562BE9E3456}"/>
          </ac:spMkLst>
        </pc:spChg>
        <pc:spChg chg="add mod">
          <ac:chgData name="STEPANCHENKO, D. (Dmitrii)" userId="30c9d29d-ac41-46ff-b2be-c3f5dd1e26e1" providerId="ADAL" clId="{DE496450-7D01-4B73-AA08-22F30639F919}" dt="2023-02-27T13:00:25.081" v="4045" actId="1036"/>
          <ac:spMkLst>
            <pc:docMk/>
            <pc:sldMk cId="1455295070" sldId="2134806318"/>
            <ac:spMk id="10" creationId="{FF5DB1F7-930B-EDDA-0D19-EED893810C0D}"/>
          </ac:spMkLst>
        </pc:spChg>
        <pc:spChg chg="add mod">
          <ac:chgData name="STEPANCHENKO, D. (Dmitrii)" userId="30c9d29d-ac41-46ff-b2be-c3f5dd1e26e1" providerId="ADAL" clId="{DE496450-7D01-4B73-AA08-22F30639F919}" dt="2023-02-27T13:04:12.554" v="4202" actId="1038"/>
          <ac:spMkLst>
            <pc:docMk/>
            <pc:sldMk cId="1455295070" sldId="2134806318"/>
            <ac:spMk id="11" creationId="{FE84E491-2E3E-F076-8800-9CC6A0243E21}"/>
          </ac:spMkLst>
        </pc:spChg>
        <pc:spChg chg="add mod">
          <ac:chgData name="STEPANCHENKO, D. (Dmitrii)" userId="30c9d29d-ac41-46ff-b2be-c3f5dd1e26e1" providerId="ADAL" clId="{DE496450-7D01-4B73-AA08-22F30639F919}" dt="2023-02-27T13:04:12.554" v="4202" actId="1038"/>
          <ac:spMkLst>
            <pc:docMk/>
            <pc:sldMk cId="1455295070" sldId="2134806318"/>
            <ac:spMk id="12" creationId="{61779362-3CE2-B323-106A-6B0010EA9BA4}"/>
          </ac:spMkLst>
        </pc:spChg>
        <pc:spChg chg="add mod">
          <ac:chgData name="STEPANCHENKO, D. (Dmitrii)" userId="30c9d29d-ac41-46ff-b2be-c3f5dd1e26e1" providerId="ADAL" clId="{DE496450-7D01-4B73-AA08-22F30639F919}" dt="2023-02-27T13:04:12.554" v="4202" actId="1038"/>
          <ac:spMkLst>
            <pc:docMk/>
            <pc:sldMk cId="1455295070" sldId="2134806318"/>
            <ac:spMk id="13" creationId="{42BEA243-57AF-1857-F033-050392852667}"/>
          </ac:spMkLst>
        </pc:spChg>
        <pc:spChg chg="add mod">
          <ac:chgData name="STEPANCHENKO, D. (Dmitrii)" userId="30c9d29d-ac41-46ff-b2be-c3f5dd1e26e1" providerId="ADAL" clId="{DE496450-7D01-4B73-AA08-22F30639F919}" dt="2023-02-26T10:08:03.999" v="1863" actId="1076"/>
          <ac:spMkLst>
            <pc:docMk/>
            <pc:sldMk cId="1455295070" sldId="2134806318"/>
            <ac:spMk id="14" creationId="{299129AD-8C23-97F4-E8F8-7B1C2CC60C32}"/>
          </ac:spMkLst>
        </pc:spChg>
        <pc:spChg chg="add mod">
          <ac:chgData name="STEPANCHENKO, D. (Dmitrii)" userId="30c9d29d-ac41-46ff-b2be-c3f5dd1e26e1" providerId="ADAL" clId="{DE496450-7D01-4B73-AA08-22F30639F919}" dt="2023-02-27T13:00:28.686" v="4066" actId="1036"/>
          <ac:spMkLst>
            <pc:docMk/>
            <pc:sldMk cId="1455295070" sldId="2134806318"/>
            <ac:spMk id="15" creationId="{27336216-58E3-11E0-7A9D-B38DA0C15852}"/>
          </ac:spMkLst>
        </pc:spChg>
        <pc:spChg chg="add mod">
          <ac:chgData name="STEPANCHENKO, D. (Dmitrii)" userId="30c9d29d-ac41-46ff-b2be-c3f5dd1e26e1" providerId="ADAL" clId="{DE496450-7D01-4B73-AA08-22F30639F919}" dt="2023-03-02T12:45:04.407" v="6382" actId="20577"/>
          <ac:spMkLst>
            <pc:docMk/>
            <pc:sldMk cId="1455295070" sldId="2134806318"/>
            <ac:spMk id="16" creationId="{14324691-9423-0313-8897-96B9C1A2191A}"/>
          </ac:spMkLst>
        </pc:spChg>
        <pc:graphicFrameChg chg="add del mod">
          <ac:chgData name="STEPANCHENKO, D. (Dmitrii)" userId="30c9d29d-ac41-46ff-b2be-c3f5dd1e26e1" providerId="ADAL" clId="{DE496450-7D01-4B73-AA08-22F30639F919}" dt="2023-02-26T10:01:59.933" v="1679" actId="478"/>
          <ac:graphicFrameMkLst>
            <pc:docMk/>
            <pc:sldMk cId="1455295070" sldId="2134806318"/>
            <ac:graphicFrameMk id="3" creationId="{2D5C460B-7CA9-E51B-EC8D-A3E7B7DD6AB3}"/>
          </ac:graphicFrameMkLst>
        </pc:graphicFrameChg>
        <pc:picChg chg="add del mod">
          <ac:chgData name="STEPANCHENKO, D. (Dmitrii)" userId="30c9d29d-ac41-46ff-b2be-c3f5dd1e26e1" providerId="ADAL" clId="{DE496450-7D01-4B73-AA08-22F30639F919}" dt="2023-03-13T18:03:03.223" v="6469" actId="478"/>
          <ac:picMkLst>
            <pc:docMk/>
            <pc:sldMk cId="1455295070" sldId="2134806318"/>
            <ac:picMk id="6" creationId="{78179EAC-9CF2-4B84-E89B-70D28E240968}"/>
          </ac:picMkLst>
        </pc:picChg>
        <pc:picChg chg="add del mod">
          <ac:chgData name="STEPANCHENKO, D. (Dmitrii)" userId="30c9d29d-ac41-46ff-b2be-c3f5dd1e26e1" providerId="ADAL" clId="{DE496450-7D01-4B73-AA08-22F30639F919}" dt="2023-03-13T18:03:03.223" v="6469" actId="478"/>
          <ac:picMkLst>
            <pc:docMk/>
            <pc:sldMk cId="1455295070" sldId="2134806318"/>
            <ac:picMk id="17" creationId="{BDD4BE3E-A41C-A14D-D8BC-ABF82108CC39}"/>
          </ac:picMkLst>
        </pc:picChg>
        <pc:picChg chg="add del mod">
          <ac:chgData name="STEPANCHENKO, D. (Dmitrii)" userId="30c9d29d-ac41-46ff-b2be-c3f5dd1e26e1" providerId="ADAL" clId="{DE496450-7D01-4B73-AA08-22F30639F919}" dt="2023-03-13T18:03:03.223" v="6469" actId="478"/>
          <ac:picMkLst>
            <pc:docMk/>
            <pc:sldMk cId="1455295070" sldId="2134806318"/>
            <ac:picMk id="18" creationId="{4FFA5874-D80C-28D4-7185-5C5AF5BE52C4}"/>
          </ac:picMkLst>
        </pc:picChg>
        <pc:picChg chg="add del mod">
          <ac:chgData name="STEPANCHENKO, D. (Dmitrii)" userId="30c9d29d-ac41-46ff-b2be-c3f5dd1e26e1" providerId="ADAL" clId="{DE496450-7D01-4B73-AA08-22F30639F919}" dt="2023-03-13T18:03:03.223" v="6469" actId="478"/>
          <ac:picMkLst>
            <pc:docMk/>
            <pc:sldMk cId="1455295070" sldId="2134806318"/>
            <ac:picMk id="19" creationId="{2A8B52DC-68C2-C536-C1EF-22328EAA5CD3}"/>
          </ac:picMkLst>
        </pc:picChg>
        <pc:picChg chg="add del mod">
          <ac:chgData name="STEPANCHENKO, D. (Dmitrii)" userId="30c9d29d-ac41-46ff-b2be-c3f5dd1e26e1" providerId="ADAL" clId="{DE496450-7D01-4B73-AA08-22F30639F919}" dt="2023-03-13T18:03:03.223" v="6469" actId="478"/>
          <ac:picMkLst>
            <pc:docMk/>
            <pc:sldMk cId="1455295070" sldId="2134806318"/>
            <ac:picMk id="20" creationId="{4E873BAC-96F3-BF4B-97A6-7FFABCD5FFD8}"/>
          </ac:picMkLst>
        </pc:picChg>
        <pc:picChg chg="add del mod">
          <ac:chgData name="STEPANCHENKO, D. (Dmitrii)" userId="30c9d29d-ac41-46ff-b2be-c3f5dd1e26e1" providerId="ADAL" clId="{DE496450-7D01-4B73-AA08-22F30639F919}" dt="2023-03-13T18:03:03.223" v="6469" actId="478"/>
          <ac:picMkLst>
            <pc:docMk/>
            <pc:sldMk cId="1455295070" sldId="2134806318"/>
            <ac:picMk id="21" creationId="{366C40F6-9782-C6E8-50B8-4D90EFF9239B}"/>
          </ac:picMkLst>
        </pc:picChg>
        <pc:picChg chg="add del mod">
          <ac:chgData name="STEPANCHENKO, D. (Dmitrii)" userId="30c9d29d-ac41-46ff-b2be-c3f5dd1e26e1" providerId="ADAL" clId="{DE496450-7D01-4B73-AA08-22F30639F919}" dt="2023-03-13T18:03:03.223" v="6469" actId="478"/>
          <ac:picMkLst>
            <pc:docMk/>
            <pc:sldMk cId="1455295070" sldId="2134806318"/>
            <ac:picMk id="22" creationId="{94E6571B-0A77-F08E-EA4A-E5A639DC390A}"/>
          </ac:picMkLst>
        </pc:picChg>
        <pc:picChg chg="add del mod">
          <ac:chgData name="STEPANCHENKO, D. (Dmitrii)" userId="30c9d29d-ac41-46ff-b2be-c3f5dd1e26e1" providerId="ADAL" clId="{DE496450-7D01-4B73-AA08-22F30639F919}" dt="2023-03-13T18:03:03.223" v="6469" actId="478"/>
          <ac:picMkLst>
            <pc:docMk/>
            <pc:sldMk cId="1455295070" sldId="2134806318"/>
            <ac:picMk id="23" creationId="{85FD56EF-E9EC-2CCC-74B6-2501BCA4FE14}"/>
          </ac:picMkLst>
        </pc:picChg>
        <pc:picChg chg="add del mod">
          <ac:chgData name="STEPANCHENKO, D. (Dmitrii)" userId="30c9d29d-ac41-46ff-b2be-c3f5dd1e26e1" providerId="ADAL" clId="{DE496450-7D01-4B73-AA08-22F30639F919}" dt="2023-03-13T18:03:03.223" v="6469" actId="478"/>
          <ac:picMkLst>
            <pc:docMk/>
            <pc:sldMk cId="1455295070" sldId="2134806318"/>
            <ac:picMk id="24" creationId="{A7D4C9A4-785A-7462-16FF-C4185B76A53A}"/>
          </ac:picMkLst>
        </pc:picChg>
      </pc:sldChg>
      <pc:sldChg chg="addSp delSp modSp add mod ord">
        <pc:chgData name="STEPANCHENKO, D. (Dmitrii)" userId="30c9d29d-ac41-46ff-b2be-c3f5dd1e26e1" providerId="ADAL" clId="{DE496450-7D01-4B73-AA08-22F30639F919}" dt="2023-03-04T08:05:47.511" v="6468" actId="1035"/>
        <pc:sldMkLst>
          <pc:docMk/>
          <pc:sldMk cId="726206234" sldId="2134806319"/>
        </pc:sldMkLst>
        <pc:spChg chg="del mod">
          <ac:chgData name="STEPANCHENKO, D. (Dmitrii)" userId="30c9d29d-ac41-46ff-b2be-c3f5dd1e26e1" providerId="ADAL" clId="{DE496450-7D01-4B73-AA08-22F30639F919}" dt="2023-02-28T14:24:17.900" v="5730" actId="478"/>
          <ac:spMkLst>
            <pc:docMk/>
            <pc:sldMk cId="726206234" sldId="2134806319"/>
            <ac:spMk id="4" creationId="{78C03241-F245-4623-A41A-659673385123}"/>
          </ac:spMkLst>
        </pc:spChg>
        <pc:spChg chg="mod">
          <ac:chgData name="STEPANCHENKO, D. (Dmitrii)" userId="30c9d29d-ac41-46ff-b2be-c3f5dd1e26e1" providerId="ADAL" clId="{DE496450-7D01-4B73-AA08-22F30639F919}" dt="2023-02-28T17:42:51.507" v="6273" actId="20577"/>
          <ac:spMkLst>
            <pc:docMk/>
            <pc:sldMk cId="726206234" sldId="2134806319"/>
            <ac:spMk id="5" creationId="{81BD1123-3626-1C45-BF5B-1C1864FA8AFA}"/>
          </ac:spMkLst>
        </pc:spChg>
        <pc:spChg chg="add mod">
          <ac:chgData name="STEPANCHENKO, D. (Dmitrii)" userId="30c9d29d-ac41-46ff-b2be-c3f5dd1e26e1" providerId="ADAL" clId="{DE496450-7D01-4B73-AA08-22F30639F919}" dt="2023-03-02T12:57:26.614" v="6459" actId="14100"/>
          <ac:spMkLst>
            <pc:docMk/>
            <pc:sldMk cId="726206234" sldId="2134806319"/>
            <ac:spMk id="7" creationId="{EF616F69-F834-3FC2-4471-4C1286E1C95B}"/>
          </ac:spMkLst>
        </pc:spChg>
        <pc:spChg chg="add mod">
          <ac:chgData name="STEPANCHENKO, D. (Dmitrii)" userId="30c9d29d-ac41-46ff-b2be-c3f5dd1e26e1" providerId="ADAL" clId="{DE496450-7D01-4B73-AA08-22F30639F919}" dt="2023-02-28T17:45:13.205" v="6341" actId="1076"/>
          <ac:spMkLst>
            <pc:docMk/>
            <pc:sldMk cId="726206234" sldId="2134806319"/>
            <ac:spMk id="25" creationId="{573A072C-22C1-8903-80E7-D1BB7AA19786}"/>
          </ac:spMkLst>
        </pc:spChg>
        <pc:spChg chg="add mod">
          <ac:chgData name="STEPANCHENKO, D. (Dmitrii)" userId="30c9d29d-ac41-46ff-b2be-c3f5dd1e26e1" providerId="ADAL" clId="{DE496450-7D01-4B73-AA08-22F30639F919}" dt="2023-02-28T17:43:23.849" v="6305"/>
          <ac:spMkLst>
            <pc:docMk/>
            <pc:sldMk cId="726206234" sldId="2134806319"/>
            <ac:spMk id="26" creationId="{0422C093-E602-1F74-DCA3-6F13F66ECB15}"/>
          </ac:spMkLst>
        </pc:spChg>
        <pc:picChg chg="add mod">
          <ac:chgData name="STEPANCHENKO, D. (Dmitrii)" userId="30c9d29d-ac41-46ff-b2be-c3f5dd1e26e1" providerId="ADAL" clId="{DE496450-7D01-4B73-AA08-22F30639F919}" dt="2023-03-04T08:05:47.511" v="6468" actId="1035"/>
          <ac:picMkLst>
            <pc:docMk/>
            <pc:sldMk cId="726206234" sldId="2134806319"/>
            <ac:picMk id="4" creationId="{5BC23A30-D7EB-8B64-2905-53DF8CB360D5}"/>
          </ac:picMkLst>
        </pc:picChg>
        <pc:picChg chg="add del mod">
          <ac:chgData name="STEPANCHENKO, D. (Dmitrii)" userId="30c9d29d-ac41-46ff-b2be-c3f5dd1e26e1" providerId="ADAL" clId="{DE496450-7D01-4B73-AA08-22F30639F919}" dt="2023-02-28T14:29:48.808" v="5755" actId="478"/>
          <ac:picMkLst>
            <pc:docMk/>
            <pc:sldMk cId="726206234" sldId="2134806319"/>
            <ac:picMk id="6" creationId="{D00BABA6-DFAA-5107-77AB-9554BD1FDC64}"/>
          </ac:picMkLst>
        </pc:picChg>
        <pc:picChg chg="add del mod">
          <ac:chgData name="STEPANCHENKO, D. (Dmitrii)" userId="30c9d29d-ac41-46ff-b2be-c3f5dd1e26e1" providerId="ADAL" clId="{DE496450-7D01-4B73-AA08-22F30639F919}" dt="2023-02-28T14:52:53.865" v="5815" actId="478"/>
          <ac:picMkLst>
            <pc:docMk/>
            <pc:sldMk cId="726206234" sldId="2134806319"/>
            <ac:picMk id="9" creationId="{AF598FD6-280D-1425-F3A3-C3F8E0E1FB02}"/>
          </ac:picMkLst>
        </pc:picChg>
        <pc:picChg chg="add del mod">
          <ac:chgData name="STEPANCHENKO, D. (Dmitrii)" userId="30c9d29d-ac41-46ff-b2be-c3f5dd1e26e1" providerId="ADAL" clId="{DE496450-7D01-4B73-AA08-22F30639F919}" dt="2023-02-28T14:53:42.019" v="5828" actId="478"/>
          <ac:picMkLst>
            <pc:docMk/>
            <pc:sldMk cId="726206234" sldId="2134806319"/>
            <ac:picMk id="11" creationId="{FF57F166-BF2C-CC3F-E8E7-DA8724063E51}"/>
          </ac:picMkLst>
        </pc:picChg>
        <pc:picChg chg="add del mod">
          <ac:chgData name="STEPANCHENKO, D. (Dmitrii)" userId="30c9d29d-ac41-46ff-b2be-c3f5dd1e26e1" providerId="ADAL" clId="{DE496450-7D01-4B73-AA08-22F30639F919}" dt="2023-02-28T14:55:55.563" v="5878" actId="478"/>
          <ac:picMkLst>
            <pc:docMk/>
            <pc:sldMk cId="726206234" sldId="2134806319"/>
            <ac:picMk id="13" creationId="{64DFFDC0-FE4D-3D13-EEC7-4EC06192B95B}"/>
          </ac:picMkLst>
        </pc:picChg>
        <pc:picChg chg="add del mod">
          <ac:chgData name="STEPANCHENKO, D. (Dmitrii)" userId="30c9d29d-ac41-46ff-b2be-c3f5dd1e26e1" providerId="ADAL" clId="{DE496450-7D01-4B73-AA08-22F30639F919}" dt="2023-02-28T14:57:23.039" v="5882" actId="478"/>
          <ac:picMkLst>
            <pc:docMk/>
            <pc:sldMk cId="726206234" sldId="2134806319"/>
            <ac:picMk id="15" creationId="{FC99C67D-F1EB-4C43-BD09-A28709D55BAE}"/>
          </ac:picMkLst>
        </pc:picChg>
        <pc:picChg chg="add del mod">
          <ac:chgData name="STEPANCHENKO, D. (Dmitrii)" userId="30c9d29d-ac41-46ff-b2be-c3f5dd1e26e1" providerId="ADAL" clId="{DE496450-7D01-4B73-AA08-22F30639F919}" dt="2023-02-28T15:04:47.441" v="6044" actId="478"/>
          <ac:picMkLst>
            <pc:docMk/>
            <pc:sldMk cId="726206234" sldId="2134806319"/>
            <ac:picMk id="17" creationId="{B3AFC8CC-1A56-21F4-4549-33B49BB3310C}"/>
          </ac:picMkLst>
        </pc:picChg>
        <pc:picChg chg="add del mod">
          <ac:chgData name="STEPANCHENKO, D. (Dmitrii)" userId="30c9d29d-ac41-46ff-b2be-c3f5dd1e26e1" providerId="ADAL" clId="{DE496450-7D01-4B73-AA08-22F30639F919}" dt="2023-02-28T15:05:18.003" v="6049" actId="478"/>
          <ac:picMkLst>
            <pc:docMk/>
            <pc:sldMk cId="726206234" sldId="2134806319"/>
            <ac:picMk id="19" creationId="{3B00995E-FA4A-75BB-915F-4E8B0A61B295}"/>
          </ac:picMkLst>
        </pc:picChg>
        <pc:picChg chg="add del mod">
          <ac:chgData name="STEPANCHENKO, D. (Dmitrii)" userId="30c9d29d-ac41-46ff-b2be-c3f5dd1e26e1" providerId="ADAL" clId="{DE496450-7D01-4B73-AA08-22F30639F919}" dt="2023-03-02T12:57:10.699" v="6458" actId="1076"/>
          <ac:picMkLst>
            <pc:docMk/>
            <pc:sldMk cId="726206234" sldId="2134806319"/>
            <ac:picMk id="21" creationId="{4AC58F3A-1064-3C0F-BDD7-E95B1636A5F8}"/>
          </ac:picMkLst>
        </pc:picChg>
        <pc:picChg chg="add del mod">
          <ac:chgData name="STEPANCHENKO, D. (Dmitrii)" userId="30c9d29d-ac41-46ff-b2be-c3f5dd1e26e1" providerId="ADAL" clId="{DE496450-7D01-4B73-AA08-22F30639F919}" dt="2023-02-28T15:28:36.882" v="6224" actId="22"/>
          <ac:picMkLst>
            <pc:docMk/>
            <pc:sldMk cId="726206234" sldId="2134806319"/>
            <ac:picMk id="24" creationId="{0E2B4A2B-0EA8-CCA2-95BF-8930E2C1F396}"/>
          </ac:picMkLst>
        </pc:picChg>
        <pc:picChg chg="add del mod">
          <ac:chgData name="STEPANCHENKO, D. (Dmitrii)" userId="30c9d29d-ac41-46ff-b2be-c3f5dd1e26e1" providerId="ADAL" clId="{DE496450-7D01-4B73-AA08-22F30639F919}" dt="2023-02-28T17:44:17.277" v="6308" actId="478"/>
          <ac:picMkLst>
            <pc:docMk/>
            <pc:sldMk cId="726206234" sldId="2134806319"/>
            <ac:picMk id="28" creationId="{B55AB8CC-268A-46DC-A244-0E8CA616EEA2}"/>
          </ac:picMkLst>
        </pc:picChg>
        <pc:picChg chg="add del mod">
          <ac:chgData name="STEPANCHENKO, D. (Dmitrii)" userId="30c9d29d-ac41-46ff-b2be-c3f5dd1e26e1" providerId="ADAL" clId="{DE496450-7D01-4B73-AA08-22F30639F919}" dt="2023-03-02T13:00:12.153" v="6460" actId="478"/>
          <ac:picMkLst>
            <pc:docMk/>
            <pc:sldMk cId="726206234" sldId="2134806319"/>
            <ac:picMk id="30" creationId="{E0E32BDF-42E5-E8CA-54FF-59AB9A3010C4}"/>
          </ac:picMkLst>
        </pc:picChg>
        <pc:cxnChg chg="add mod">
          <ac:chgData name="STEPANCHENKO, D. (Dmitrii)" userId="30c9d29d-ac41-46ff-b2be-c3f5dd1e26e1" providerId="ADAL" clId="{DE496450-7D01-4B73-AA08-22F30639F919}" dt="2023-02-28T17:45:03.915" v="6339" actId="1037"/>
          <ac:cxnSpMkLst>
            <pc:docMk/>
            <pc:sldMk cId="726206234" sldId="2134806319"/>
            <ac:cxnSpMk id="22" creationId="{88206FA0-61AC-705A-D112-B5B7DFB1B9D0}"/>
          </ac:cxnSpMkLst>
        </pc:cxnChg>
      </pc:sldChg>
      <pc:sldChg chg="del">
        <pc:chgData name="STEPANCHENKO, D. (Dmitrii)" userId="30c9d29d-ac41-46ff-b2be-c3f5dd1e26e1" providerId="ADAL" clId="{DE496450-7D01-4B73-AA08-22F30639F919}" dt="2023-02-13T16:14:18.166" v="0" actId="47"/>
        <pc:sldMkLst>
          <pc:docMk/>
          <pc:sldMk cId="4090923905" sldId="2134806319"/>
        </pc:sldMkLst>
      </pc:sldChg>
      <pc:sldChg chg="del">
        <pc:chgData name="STEPANCHENKO, D. (Dmitrii)" userId="30c9d29d-ac41-46ff-b2be-c3f5dd1e26e1" providerId="ADAL" clId="{DE496450-7D01-4B73-AA08-22F30639F919}" dt="2023-02-13T16:14:18.166" v="0" actId="47"/>
        <pc:sldMkLst>
          <pc:docMk/>
          <pc:sldMk cId="123236843" sldId="2134806320"/>
        </pc:sldMkLst>
      </pc:sldChg>
      <pc:sldChg chg="add del ord">
        <pc:chgData name="STEPANCHENKO, D. (Dmitrii)" userId="30c9d29d-ac41-46ff-b2be-c3f5dd1e26e1" providerId="ADAL" clId="{DE496450-7D01-4B73-AA08-22F30639F919}" dt="2023-02-27T13:12:35.136" v="4395" actId="47"/>
        <pc:sldMkLst>
          <pc:docMk/>
          <pc:sldMk cId="3616594589" sldId="2134806320"/>
        </pc:sldMkLst>
      </pc:sldChg>
      <pc:sldChg chg="modSp add del mod ord">
        <pc:chgData name="STEPANCHENKO, D. (Dmitrii)" userId="30c9d29d-ac41-46ff-b2be-c3f5dd1e26e1" providerId="ADAL" clId="{DE496450-7D01-4B73-AA08-22F30639F919}" dt="2023-02-27T17:22:54.523" v="5692" actId="47"/>
        <pc:sldMkLst>
          <pc:docMk/>
          <pc:sldMk cId="2876421356" sldId="2134806321"/>
        </pc:sldMkLst>
        <pc:spChg chg="mod">
          <ac:chgData name="STEPANCHENKO, D. (Dmitrii)" userId="30c9d29d-ac41-46ff-b2be-c3f5dd1e26e1" providerId="ADAL" clId="{DE496450-7D01-4B73-AA08-22F30639F919}" dt="2023-02-27T17:17:42.771" v="5563" actId="113"/>
          <ac:spMkLst>
            <pc:docMk/>
            <pc:sldMk cId="2876421356" sldId="2134806321"/>
            <ac:spMk id="4" creationId="{78C03241-F245-4623-A41A-659673385123}"/>
          </ac:spMkLst>
        </pc:spChg>
        <pc:spChg chg="mod">
          <ac:chgData name="STEPANCHENKO, D. (Dmitrii)" userId="30c9d29d-ac41-46ff-b2be-c3f5dd1e26e1" providerId="ADAL" clId="{DE496450-7D01-4B73-AA08-22F30639F919}" dt="2023-02-27T17:14:27.284" v="5289" actId="20577"/>
          <ac:spMkLst>
            <pc:docMk/>
            <pc:sldMk cId="2876421356" sldId="2134806321"/>
            <ac:spMk id="5" creationId="{81BD1123-3626-1C45-BF5B-1C1864FA8AFA}"/>
          </ac:spMkLst>
        </pc:spChg>
      </pc:sldChg>
      <pc:sldChg chg="del">
        <pc:chgData name="STEPANCHENKO, D. (Dmitrii)" userId="30c9d29d-ac41-46ff-b2be-c3f5dd1e26e1" providerId="ADAL" clId="{DE496450-7D01-4B73-AA08-22F30639F919}" dt="2023-02-13T16:14:18.166" v="0" actId="47"/>
        <pc:sldMkLst>
          <pc:docMk/>
          <pc:sldMk cId="3981094662" sldId="2134806321"/>
        </pc:sldMkLst>
      </pc:sldChg>
      <pc:sldChg chg="addSp delSp modSp add mod">
        <pc:chgData name="STEPANCHENKO, D. (Dmitrii)" userId="30c9d29d-ac41-46ff-b2be-c3f5dd1e26e1" providerId="ADAL" clId="{DE496450-7D01-4B73-AA08-22F30639F919}" dt="2023-03-02T12:49:23.511" v="6446" actId="20577"/>
        <pc:sldMkLst>
          <pc:docMk/>
          <pc:sldMk cId="235973956" sldId="2134806322"/>
        </pc:sldMkLst>
        <pc:spChg chg="add mod">
          <ac:chgData name="STEPANCHENKO, D. (Dmitrii)" userId="30c9d29d-ac41-46ff-b2be-c3f5dd1e26e1" providerId="ADAL" clId="{DE496450-7D01-4B73-AA08-22F30639F919}" dt="2023-03-02T12:49:23.511" v="6446" actId="20577"/>
          <ac:spMkLst>
            <pc:docMk/>
            <pc:sldMk cId="235973956" sldId="2134806322"/>
            <ac:spMk id="3" creationId="{9C25316E-B3AB-082E-01EF-4F7BF463EC29}"/>
          </ac:spMkLst>
        </pc:spChg>
        <pc:spChg chg="del mod">
          <ac:chgData name="STEPANCHENKO, D. (Dmitrii)" userId="30c9d29d-ac41-46ff-b2be-c3f5dd1e26e1" providerId="ADAL" clId="{DE496450-7D01-4B73-AA08-22F30639F919}" dt="2023-02-27T13:08:48.984" v="4311" actId="478"/>
          <ac:spMkLst>
            <pc:docMk/>
            <pc:sldMk cId="235973956" sldId="2134806322"/>
            <ac:spMk id="4" creationId="{78C03241-F245-4623-A41A-659673385123}"/>
          </ac:spMkLst>
        </pc:spChg>
        <pc:spChg chg="mod">
          <ac:chgData name="STEPANCHENKO, D. (Dmitrii)" userId="30c9d29d-ac41-46ff-b2be-c3f5dd1e26e1" providerId="ADAL" clId="{DE496450-7D01-4B73-AA08-22F30639F919}" dt="2023-02-27T13:11:29.449" v="4371" actId="20577"/>
          <ac:spMkLst>
            <pc:docMk/>
            <pc:sldMk cId="235973956" sldId="2134806322"/>
            <ac:spMk id="5" creationId="{81BD1123-3626-1C45-BF5B-1C1864FA8AFA}"/>
          </ac:spMkLst>
        </pc:spChg>
        <pc:spChg chg="add mod">
          <ac:chgData name="STEPANCHENKO, D. (Dmitrii)" userId="30c9d29d-ac41-46ff-b2be-c3f5dd1e26e1" providerId="ADAL" clId="{DE496450-7D01-4B73-AA08-22F30639F919}" dt="2023-02-27T16:56:47.423" v="4632" actId="20577"/>
          <ac:spMkLst>
            <pc:docMk/>
            <pc:sldMk cId="235973956" sldId="2134806322"/>
            <ac:spMk id="6" creationId="{4256760A-E8FF-18D7-3DBF-CAB422522783}"/>
          </ac:spMkLst>
        </pc:spChg>
        <pc:spChg chg="add mod">
          <ac:chgData name="STEPANCHENKO, D. (Dmitrii)" userId="30c9d29d-ac41-46ff-b2be-c3f5dd1e26e1" providerId="ADAL" clId="{DE496450-7D01-4B73-AA08-22F30639F919}" dt="2023-03-02T12:48:14.115" v="6424" actId="20577"/>
          <ac:spMkLst>
            <pc:docMk/>
            <pc:sldMk cId="235973956" sldId="2134806322"/>
            <ac:spMk id="9" creationId="{3AC16AE1-1741-D0FE-4DAC-7815CCDFCB52}"/>
          </ac:spMkLst>
        </pc:spChg>
        <pc:graphicFrameChg chg="add mod">
          <ac:chgData name="STEPANCHENKO, D. (Dmitrii)" userId="30c9d29d-ac41-46ff-b2be-c3f5dd1e26e1" providerId="ADAL" clId="{DE496450-7D01-4B73-AA08-22F30639F919}" dt="2023-02-27T17:19:42.861" v="5600" actId="14100"/>
          <ac:graphicFrameMkLst>
            <pc:docMk/>
            <pc:sldMk cId="235973956" sldId="2134806322"/>
            <ac:graphicFrameMk id="7" creationId="{C2A4BFA7-5F0B-D975-5558-8318BD22FFF9}"/>
          </ac:graphicFrameMkLst>
        </pc:graphicFrameChg>
        <pc:cxnChg chg="add mod">
          <ac:chgData name="STEPANCHENKO, D. (Dmitrii)" userId="30c9d29d-ac41-46ff-b2be-c3f5dd1e26e1" providerId="ADAL" clId="{DE496450-7D01-4B73-AA08-22F30639F919}" dt="2023-02-27T17:20:23.795" v="5623" actId="692"/>
          <ac:cxnSpMkLst>
            <pc:docMk/>
            <pc:sldMk cId="235973956" sldId="2134806322"/>
            <ac:cxnSpMk id="11" creationId="{228E5371-643F-114E-2651-C393A3401C07}"/>
          </ac:cxnSpMkLst>
        </pc:cxnChg>
      </pc:sldChg>
      <pc:sldChg chg="add del">
        <pc:chgData name="STEPANCHENKO, D. (Dmitrii)" userId="30c9d29d-ac41-46ff-b2be-c3f5dd1e26e1" providerId="ADAL" clId="{DE496450-7D01-4B73-AA08-22F30639F919}" dt="2023-02-27T11:54:32.525" v="2630" actId="47"/>
        <pc:sldMkLst>
          <pc:docMk/>
          <pc:sldMk cId="1152533543" sldId="2134806322"/>
        </pc:sldMkLst>
      </pc:sldChg>
      <pc:sldChg chg="add del">
        <pc:chgData name="STEPANCHENKO, D. (Dmitrii)" userId="30c9d29d-ac41-46ff-b2be-c3f5dd1e26e1" providerId="ADAL" clId="{DE496450-7D01-4B73-AA08-22F30639F919}" dt="2023-02-27T11:54:26.915" v="2628"/>
        <pc:sldMkLst>
          <pc:docMk/>
          <pc:sldMk cId="1507248134" sldId="2134806322"/>
        </pc:sldMkLst>
      </pc:sldChg>
      <pc:sldChg chg="del">
        <pc:chgData name="STEPANCHENKO, D. (Dmitrii)" userId="30c9d29d-ac41-46ff-b2be-c3f5dd1e26e1" providerId="ADAL" clId="{DE496450-7D01-4B73-AA08-22F30639F919}" dt="2023-02-13T16:14:18.166" v="0" actId="47"/>
        <pc:sldMkLst>
          <pc:docMk/>
          <pc:sldMk cId="3505165302" sldId="2134806322"/>
        </pc:sldMkLst>
      </pc:sldChg>
      <pc:sldChg chg="del">
        <pc:chgData name="STEPANCHENKO, D. (Dmitrii)" userId="30c9d29d-ac41-46ff-b2be-c3f5dd1e26e1" providerId="ADAL" clId="{DE496450-7D01-4B73-AA08-22F30639F919}" dt="2023-02-13T16:14:18.166" v="0" actId="47"/>
        <pc:sldMkLst>
          <pc:docMk/>
          <pc:sldMk cId="611908845" sldId="2134806323"/>
        </pc:sldMkLst>
      </pc:sldChg>
      <pc:sldChg chg="del">
        <pc:chgData name="STEPANCHENKO, D. (Dmitrii)" userId="30c9d29d-ac41-46ff-b2be-c3f5dd1e26e1" providerId="ADAL" clId="{DE496450-7D01-4B73-AA08-22F30639F919}" dt="2023-02-13T16:14:18.166" v="0" actId="47"/>
        <pc:sldMkLst>
          <pc:docMk/>
          <pc:sldMk cId="3515820768" sldId="2134806324"/>
        </pc:sldMkLst>
      </pc:sldChg>
      <pc:sldChg chg="del">
        <pc:chgData name="STEPANCHENKO, D. (Dmitrii)" userId="30c9d29d-ac41-46ff-b2be-c3f5dd1e26e1" providerId="ADAL" clId="{DE496450-7D01-4B73-AA08-22F30639F919}" dt="2023-02-13T16:14:18.166" v="0" actId="47"/>
        <pc:sldMkLst>
          <pc:docMk/>
          <pc:sldMk cId="1681901787" sldId="2134806325"/>
        </pc:sldMkLst>
      </pc:sldChg>
      <pc:sldChg chg="del">
        <pc:chgData name="STEPANCHENKO, D. (Dmitrii)" userId="30c9d29d-ac41-46ff-b2be-c3f5dd1e26e1" providerId="ADAL" clId="{DE496450-7D01-4B73-AA08-22F30639F919}" dt="2023-02-13T16:14:18.166" v="0" actId="47"/>
        <pc:sldMkLst>
          <pc:docMk/>
          <pc:sldMk cId="1035378868" sldId="2134806326"/>
        </pc:sldMkLst>
      </pc:sldChg>
      <pc:sldChg chg="del">
        <pc:chgData name="STEPANCHENKO, D. (Dmitrii)" userId="30c9d29d-ac41-46ff-b2be-c3f5dd1e26e1" providerId="ADAL" clId="{DE496450-7D01-4B73-AA08-22F30639F919}" dt="2023-02-13T16:14:18.166" v="0" actId="47"/>
        <pc:sldMkLst>
          <pc:docMk/>
          <pc:sldMk cId="3546147866" sldId="2134806327"/>
        </pc:sldMkLst>
      </pc:sldChg>
      <pc:sldChg chg="del">
        <pc:chgData name="STEPANCHENKO, D. (Dmitrii)" userId="30c9d29d-ac41-46ff-b2be-c3f5dd1e26e1" providerId="ADAL" clId="{DE496450-7D01-4B73-AA08-22F30639F919}" dt="2023-02-13T16:14:18.166" v="0" actId="47"/>
        <pc:sldMkLst>
          <pc:docMk/>
          <pc:sldMk cId="2188507405" sldId="2134806328"/>
        </pc:sldMkLst>
      </pc:sldChg>
      <pc:sldChg chg="del">
        <pc:chgData name="STEPANCHENKO, D. (Dmitrii)" userId="30c9d29d-ac41-46ff-b2be-c3f5dd1e26e1" providerId="ADAL" clId="{DE496450-7D01-4B73-AA08-22F30639F919}" dt="2023-02-13T16:14:18.166" v="0" actId="47"/>
        <pc:sldMkLst>
          <pc:docMk/>
          <pc:sldMk cId="4288962585" sldId="2134806329"/>
        </pc:sldMkLst>
      </pc:sldChg>
      <pc:sldChg chg="del">
        <pc:chgData name="STEPANCHENKO, D. (Dmitrii)" userId="30c9d29d-ac41-46ff-b2be-c3f5dd1e26e1" providerId="ADAL" clId="{DE496450-7D01-4B73-AA08-22F30639F919}" dt="2023-02-13T16:14:18.166" v="0" actId="47"/>
        <pc:sldMkLst>
          <pc:docMk/>
          <pc:sldMk cId="207440382" sldId="2134806330"/>
        </pc:sldMkLst>
      </pc:sldChg>
      <pc:sldChg chg="del">
        <pc:chgData name="STEPANCHENKO, D. (Dmitrii)" userId="30c9d29d-ac41-46ff-b2be-c3f5dd1e26e1" providerId="ADAL" clId="{DE496450-7D01-4B73-AA08-22F30639F919}" dt="2023-02-13T16:14:18.166" v="0" actId="47"/>
        <pc:sldMkLst>
          <pc:docMk/>
          <pc:sldMk cId="2227863510" sldId="2134806331"/>
        </pc:sldMkLst>
      </pc:sldChg>
      <pc:sldChg chg="del">
        <pc:chgData name="STEPANCHENKO, D. (Dmitrii)" userId="30c9d29d-ac41-46ff-b2be-c3f5dd1e26e1" providerId="ADAL" clId="{DE496450-7D01-4B73-AA08-22F30639F919}" dt="2023-02-13T16:14:18.166" v="0" actId="47"/>
        <pc:sldMkLst>
          <pc:docMk/>
          <pc:sldMk cId="2682644823" sldId="2134806332"/>
        </pc:sldMkLst>
      </pc:sldChg>
      <pc:sldChg chg="del">
        <pc:chgData name="STEPANCHENKO, D. (Dmitrii)" userId="30c9d29d-ac41-46ff-b2be-c3f5dd1e26e1" providerId="ADAL" clId="{DE496450-7D01-4B73-AA08-22F30639F919}" dt="2023-02-13T16:14:18.166" v="0" actId="47"/>
        <pc:sldMkLst>
          <pc:docMk/>
          <pc:sldMk cId="707995619" sldId="2134806333"/>
        </pc:sldMkLst>
      </pc:sldChg>
      <pc:sldChg chg="del">
        <pc:chgData name="STEPANCHENKO, D. (Dmitrii)" userId="30c9d29d-ac41-46ff-b2be-c3f5dd1e26e1" providerId="ADAL" clId="{DE496450-7D01-4B73-AA08-22F30639F919}" dt="2023-02-13T16:14:18.166" v="0" actId="47"/>
        <pc:sldMkLst>
          <pc:docMk/>
          <pc:sldMk cId="1780132281" sldId="2134806334"/>
        </pc:sldMkLst>
      </pc:sldChg>
      <pc:sldChg chg="del">
        <pc:chgData name="STEPANCHENKO, D. (Dmitrii)" userId="30c9d29d-ac41-46ff-b2be-c3f5dd1e26e1" providerId="ADAL" clId="{DE496450-7D01-4B73-AA08-22F30639F919}" dt="2023-02-13T16:14:18.166" v="0" actId="47"/>
        <pc:sldMkLst>
          <pc:docMk/>
          <pc:sldMk cId="919593200" sldId="2134806335"/>
        </pc:sldMkLst>
      </pc:sldChg>
      <pc:sldChg chg="del">
        <pc:chgData name="STEPANCHENKO, D. (Dmitrii)" userId="30c9d29d-ac41-46ff-b2be-c3f5dd1e26e1" providerId="ADAL" clId="{DE496450-7D01-4B73-AA08-22F30639F919}" dt="2023-02-13T16:14:18.166" v="0" actId="47"/>
        <pc:sldMkLst>
          <pc:docMk/>
          <pc:sldMk cId="360816652" sldId="2134806336"/>
        </pc:sldMkLst>
      </pc:sldChg>
      <pc:sldChg chg="del">
        <pc:chgData name="STEPANCHENKO, D. (Dmitrii)" userId="30c9d29d-ac41-46ff-b2be-c3f5dd1e26e1" providerId="ADAL" clId="{DE496450-7D01-4B73-AA08-22F30639F919}" dt="2023-02-13T16:14:18.166" v="0" actId="47"/>
        <pc:sldMkLst>
          <pc:docMk/>
          <pc:sldMk cId="460272892" sldId="2134806337"/>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https://ing-my.sharepoint.com/personal/dmitrii_stepanchenko_ing_com/Documents/Desktop/Teaching/Teaching/Risk-management%20in%20Bank/6.%20FX%20risk/6.1%20Open%20currency%20position.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r>
              <a:rPr lang="en-US" sz="1200"/>
              <a:t>bln RUB</a:t>
            </a:r>
          </a:p>
        </c:rich>
      </c:tx>
      <c:layout>
        <c:manualLayout>
          <c:xMode val="edge"/>
          <c:yMode val="edge"/>
          <c:x val="3.1548556430446226E-2"/>
          <c:y val="4.6296296296296294E-2"/>
        </c:manualLayout>
      </c:layout>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endParaRPr lang="en-NL"/>
        </a:p>
      </c:txPr>
    </c:title>
    <c:autoTitleDeleted val="0"/>
    <c:plotArea>
      <c:layout/>
      <c:barChart>
        <c:barDir val="col"/>
        <c:grouping val="clustered"/>
        <c:varyColors val="0"/>
        <c:ser>
          <c:idx val="0"/>
          <c:order val="0"/>
          <c:tx>
            <c:strRef>
              <c:f>OCP!$C$32</c:f>
              <c:strCache>
                <c:ptCount val="1"/>
                <c:pt idx="0">
                  <c:v>bln RUB</c:v>
                </c:pt>
              </c:strCache>
            </c:strRef>
          </c:tx>
          <c:spPr>
            <a:solidFill>
              <a:schemeClr val="accent1"/>
            </a:solidFill>
            <a:ln>
              <a:noFill/>
            </a:ln>
            <a:effectLst/>
          </c:spPr>
          <c:invertIfNegative val="0"/>
          <c:dPt>
            <c:idx val="4"/>
            <c:invertIfNegative val="0"/>
            <c:bubble3D val="0"/>
            <c:spPr>
              <a:solidFill>
                <a:srgbClr val="002060"/>
              </a:solidFill>
              <a:ln>
                <a:solidFill>
                  <a:srgbClr val="002060"/>
                </a:solidFill>
              </a:ln>
              <a:effectLst/>
            </c:spPr>
            <c:extLst>
              <c:ext xmlns:c16="http://schemas.microsoft.com/office/drawing/2014/chart" uri="{C3380CC4-5D6E-409C-BE32-E72D297353CC}">
                <c16:uniqueId val="{00000001-E7A0-4EFE-889C-D04B997F1C3F}"/>
              </c:ext>
            </c:extLst>
          </c:dPt>
          <c:dLbls>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N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CP!$B$33:$B$37</c:f>
              <c:strCache>
                <c:ptCount val="5"/>
                <c:pt idx="0">
                  <c:v>USD</c:v>
                </c:pt>
                <c:pt idx="1">
                  <c:v>EUR</c:v>
                </c:pt>
                <c:pt idx="2">
                  <c:v>CFH</c:v>
                </c:pt>
                <c:pt idx="3">
                  <c:v>Other</c:v>
                </c:pt>
                <c:pt idx="4">
                  <c:v>Balancing position</c:v>
                </c:pt>
              </c:strCache>
            </c:strRef>
          </c:cat>
          <c:val>
            <c:numRef>
              <c:f>OCP!$C$33:$C$37</c:f>
              <c:numCache>
                <c:formatCode>General</c:formatCode>
                <c:ptCount val="5"/>
                <c:pt idx="0">
                  <c:v>-15</c:v>
                </c:pt>
                <c:pt idx="1">
                  <c:v>30</c:v>
                </c:pt>
                <c:pt idx="2">
                  <c:v>5</c:v>
                </c:pt>
                <c:pt idx="3">
                  <c:v>3</c:v>
                </c:pt>
                <c:pt idx="4">
                  <c:v>23</c:v>
                </c:pt>
              </c:numCache>
            </c:numRef>
          </c:val>
          <c:extLst>
            <c:ext xmlns:c16="http://schemas.microsoft.com/office/drawing/2014/chart" uri="{C3380CC4-5D6E-409C-BE32-E72D297353CC}">
              <c16:uniqueId val="{00000002-E7A0-4EFE-889C-D04B997F1C3F}"/>
            </c:ext>
          </c:extLst>
        </c:ser>
        <c:dLbls>
          <c:showLegendKey val="0"/>
          <c:showVal val="0"/>
          <c:showCatName val="0"/>
          <c:showSerName val="0"/>
          <c:showPercent val="0"/>
          <c:showBubbleSize val="0"/>
        </c:dLbls>
        <c:gapWidth val="219"/>
        <c:overlap val="-27"/>
        <c:axId val="1756150319"/>
        <c:axId val="1756151567"/>
      </c:barChart>
      <c:catAx>
        <c:axId val="1756150319"/>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NL"/>
          </a:p>
        </c:txPr>
        <c:crossAx val="1756151567"/>
        <c:crosses val="autoZero"/>
        <c:auto val="1"/>
        <c:lblAlgn val="ctr"/>
        <c:lblOffset val="100"/>
        <c:noMultiLvlLbl val="0"/>
      </c:catAx>
      <c:valAx>
        <c:axId val="1756151567"/>
        <c:scaling>
          <c:orientation val="minMax"/>
        </c:scaling>
        <c:delete val="1"/>
        <c:axPos val="l"/>
        <c:numFmt formatCode="General" sourceLinked="1"/>
        <c:majorTickMark val="none"/>
        <c:minorTickMark val="none"/>
        <c:tickLblPos val="nextTo"/>
        <c:crossAx val="175615031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NL"/>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a:extLst>
              <a:ext uri="{FF2B5EF4-FFF2-40B4-BE49-F238E27FC236}">
                <a16:creationId xmlns:a16="http://schemas.microsoft.com/office/drawing/2014/main" id="{B97180D7-B1F7-0C4C-AC17-93CEAA59374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ru-RU"/>
          </a:p>
        </p:txBody>
      </p:sp>
      <p:sp>
        <p:nvSpPr>
          <p:cNvPr id="3" name="Дата 2">
            <a:extLst>
              <a:ext uri="{FF2B5EF4-FFF2-40B4-BE49-F238E27FC236}">
                <a16:creationId xmlns:a16="http://schemas.microsoft.com/office/drawing/2014/main" id="{A64E4E00-8D2E-D84B-8088-45B873471CD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C3AF864-2CD3-6048-8DC4-485EC2838207}" type="datetimeFigureOut">
              <a:rPr lang="ru-RU" smtClean="0"/>
              <a:t>13.03.2023</a:t>
            </a:fld>
            <a:endParaRPr lang="ru-RU"/>
          </a:p>
        </p:txBody>
      </p:sp>
      <p:sp>
        <p:nvSpPr>
          <p:cNvPr id="4" name="Нижний колонтитул 3">
            <a:extLst>
              <a:ext uri="{FF2B5EF4-FFF2-40B4-BE49-F238E27FC236}">
                <a16:creationId xmlns:a16="http://schemas.microsoft.com/office/drawing/2014/main" id="{FC1EED8B-FB1F-374B-ABD1-FD309C613CB7}"/>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ru-RU"/>
          </a:p>
        </p:txBody>
      </p:sp>
      <p:sp>
        <p:nvSpPr>
          <p:cNvPr id="5" name="Номер слайда 4">
            <a:extLst>
              <a:ext uri="{FF2B5EF4-FFF2-40B4-BE49-F238E27FC236}">
                <a16:creationId xmlns:a16="http://schemas.microsoft.com/office/drawing/2014/main" id="{12C18920-3B0C-8641-A550-47892747AAC3}"/>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B1EF4A4-1C9C-8547-8028-E591E942DEB1}" type="slidenum">
              <a:rPr lang="ru-RU" smtClean="0"/>
              <a:t>‹#›</a:t>
            </a:fld>
            <a:endParaRPr lang="ru-RU"/>
          </a:p>
        </p:txBody>
      </p:sp>
    </p:spTree>
    <p:extLst>
      <p:ext uri="{BB962C8B-B14F-4D97-AF65-F5344CB8AC3E}">
        <p14:creationId xmlns:p14="http://schemas.microsoft.com/office/powerpoint/2010/main" val="162301055"/>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B3A9580-5DD1-2F48-9402-1A45898D33DB}" type="datetimeFigureOut">
              <a:rPr lang="ru-RU" smtClean="0"/>
              <a:t>13.03.2023</a:t>
            </a:fld>
            <a:endParaRPr lang="ru-RU"/>
          </a:p>
        </p:txBody>
      </p:sp>
      <p:sp>
        <p:nvSpPr>
          <p:cNvPr id="4" name="Образ слайда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6" name="Нижний колонтитул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C7A977D-FD21-5343-9077-4BC06D1F8CA3}" type="slidenum">
              <a:rPr lang="ru-RU" smtClean="0"/>
              <a:t>‹#›</a:t>
            </a:fld>
            <a:endParaRPr lang="ru-RU"/>
          </a:p>
        </p:txBody>
      </p:sp>
    </p:spTree>
    <p:extLst>
      <p:ext uri="{BB962C8B-B14F-4D97-AF65-F5344CB8AC3E}">
        <p14:creationId xmlns:p14="http://schemas.microsoft.com/office/powerpoint/2010/main" val="653869792"/>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301088173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http://8FB5843F48046975B704222F29D426D5.dms.sberbank.ru/8FB5843F48046975B704222F29D426D5-92DCC9725E0A03BFCF87C98938EC5031-F580345CCB2E5D2A12308062CC9D6F08/1.png" TargetMode="External"/><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2" Type="http://schemas.openxmlformats.org/officeDocument/2006/relationships/image" Target="http://05311BFB0B7396CBCF59420FADC09062.dms.sberbank.ru/05311BFB0B7396CBCF59420FADC09062-A3706015402A346BAE2C7E4161CEDD42-AA08E215F1EBA7C368CDE302EC67DC4F/1.png" TargetMode="External"/><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6.xml"/><Relationship Id="rId1" Type="http://schemas.openxmlformats.org/officeDocument/2006/relationships/tags" Target="../tags/tag8.xml"/><Relationship Id="rId6" Type="http://schemas.openxmlformats.org/officeDocument/2006/relationships/image" Target="../media/image7.png"/><Relationship Id="rId5" Type="http://schemas.openxmlformats.org/officeDocument/2006/relationships/image" Target="../media/image6.jpeg"/><Relationship Id="rId4" Type="http://schemas.openxmlformats.org/officeDocument/2006/relationships/image" Target="../media/image5.emf"/></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3" Type="http://schemas.openxmlformats.org/officeDocument/2006/relationships/image" Target="http://5A9FAA11343EC11A72E306E41DBDD243.dms.sberbank.ru/5A9FAA11343EC11A72E306E41DBDD243-A3706015402A346BAE2C7E4161CEDD42-A43DBAE14D4A7BB44B4C51921CE89AF5/1.png" TargetMode="External"/><Relationship Id="rId2" Type="http://schemas.openxmlformats.org/officeDocument/2006/relationships/image" Target="http://5A9FAA11343EC11A72E306E41DBDD243.dms.sberbank.ru/5A9FAA11343EC11A72E306E41DBDD243-A3706015402A346BAE2C7E4161CEDD42-402F2720EE24403459B26CFD8111A0E2/1.png" TargetMode="External"/><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http://5A9FAA11343EC11A72E306E41DBDD243.dms.sberbank.ru/5A9FAA11343EC11A72E306E41DBDD243-A3706015402A346BAE2C7E4161CEDD42-78B027483C7D8D513BF49F01B3104E69/1.png" TargetMode="External"/><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2" Type="http://schemas.openxmlformats.org/officeDocument/2006/relationships/image" Target="http://5A9FAA11343EC11A72E306E41DBDD243.dms.sberbank.ru/5A9FAA11343EC11A72E306E41DBDD243-A3706015402A346BAE2C7E4161CEDD42-A43DBAE14D4A7BB44B4C51921CE89AF5/1.png" TargetMode="External"/><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http://05311BFB0B7396CBCF59420FADC09062.dms.sberbank.ru/05311BFB0B7396CBCF59420FADC09062-A43BE17F84EBF8A14D2FBB31548AE660-EA03F1F07397044467A7D5A37B53EE79/1.png" TargetMode="External"/><Relationship Id="rId5" Type="http://schemas.openxmlformats.org/officeDocument/2006/relationships/image" Target="NULL"/><Relationship Id="rId4" Type="http://schemas.openxmlformats.org/officeDocument/2006/relationships/oleObject" Target="../embeddings/oleObject9.bin"/></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png"/><Relationship Id="rId18" Type="http://schemas.openxmlformats.org/officeDocument/2006/relationships/image" Target="../media/image26.png"/><Relationship Id="rId26" Type="http://schemas.openxmlformats.org/officeDocument/2006/relationships/image" Target="../media/image34.png"/><Relationship Id="rId3" Type="http://schemas.openxmlformats.org/officeDocument/2006/relationships/image" Target="../media/image11.png"/><Relationship Id="rId21" Type="http://schemas.openxmlformats.org/officeDocument/2006/relationships/image" Target="../media/image29.png"/><Relationship Id="rId7" Type="http://schemas.openxmlformats.org/officeDocument/2006/relationships/image" Target="../media/image15.png"/><Relationship Id="rId12" Type="http://schemas.openxmlformats.org/officeDocument/2006/relationships/image" Target="../media/image20.png"/><Relationship Id="rId17" Type="http://schemas.openxmlformats.org/officeDocument/2006/relationships/image" Target="../media/image25.png"/><Relationship Id="rId25" Type="http://schemas.openxmlformats.org/officeDocument/2006/relationships/image" Target="../media/image33.png"/><Relationship Id="rId2" Type="http://schemas.openxmlformats.org/officeDocument/2006/relationships/image" Target="../media/image10.png"/><Relationship Id="rId16" Type="http://schemas.openxmlformats.org/officeDocument/2006/relationships/image" Target="../media/image24.png"/><Relationship Id="rId20" Type="http://schemas.openxmlformats.org/officeDocument/2006/relationships/image" Target="../media/image28.png"/><Relationship Id="rId29" Type="http://schemas.openxmlformats.org/officeDocument/2006/relationships/image" Target="../media/image37.png"/><Relationship Id="rId1" Type="http://schemas.openxmlformats.org/officeDocument/2006/relationships/slideMaster" Target="../slideMasters/slideMaster7.xml"/><Relationship Id="rId6" Type="http://schemas.openxmlformats.org/officeDocument/2006/relationships/image" Target="../media/image14.png"/><Relationship Id="rId11" Type="http://schemas.openxmlformats.org/officeDocument/2006/relationships/image" Target="../media/image19.png"/><Relationship Id="rId24" Type="http://schemas.openxmlformats.org/officeDocument/2006/relationships/image" Target="../media/image32.png"/><Relationship Id="rId5" Type="http://schemas.openxmlformats.org/officeDocument/2006/relationships/image" Target="../media/image13.png"/><Relationship Id="rId15" Type="http://schemas.openxmlformats.org/officeDocument/2006/relationships/image" Target="../media/image23.png"/><Relationship Id="rId23" Type="http://schemas.openxmlformats.org/officeDocument/2006/relationships/image" Target="../media/image31.png"/><Relationship Id="rId28" Type="http://schemas.openxmlformats.org/officeDocument/2006/relationships/image" Target="../media/image36.png"/><Relationship Id="rId10" Type="http://schemas.openxmlformats.org/officeDocument/2006/relationships/image" Target="../media/image18.png"/><Relationship Id="rId19" Type="http://schemas.openxmlformats.org/officeDocument/2006/relationships/image" Target="../media/image27.png"/><Relationship Id="rId4" Type="http://schemas.openxmlformats.org/officeDocument/2006/relationships/image" Target="../media/image12.png"/><Relationship Id="rId9" Type="http://schemas.openxmlformats.org/officeDocument/2006/relationships/image" Target="../media/image17.png"/><Relationship Id="rId14" Type="http://schemas.openxmlformats.org/officeDocument/2006/relationships/image" Target="../media/image22.png"/><Relationship Id="rId22" Type="http://schemas.openxmlformats.org/officeDocument/2006/relationships/image" Target="../media/image30.png"/><Relationship Id="rId27" Type="http://schemas.openxmlformats.org/officeDocument/2006/relationships/image" Target="../media/image35.png"/><Relationship Id="rId30" Type="http://schemas.openxmlformats.org/officeDocument/2006/relationships/image" Target="../media/image38.png"/></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34.png"/><Relationship Id="rId3" Type="http://schemas.openxmlformats.org/officeDocument/2006/relationships/image" Target="../media/image12.png"/><Relationship Id="rId7" Type="http://schemas.openxmlformats.org/officeDocument/2006/relationships/image" Target="../media/image20.png"/><Relationship Id="rId12" Type="http://schemas.openxmlformats.org/officeDocument/2006/relationships/image" Target="../media/image30.png"/><Relationship Id="rId17" Type="http://schemas.openxmlformats.org/officeDocument/2006/relationships/image" Target="http://C19E03B9ACCBFA56DC6DEDE59F81EABF.dms.sberbank.ru/C19E03B9ACCBFA56DC6DEDE59F81EABF-C84D87D17A171F6D15A801A76AF179A3-1E9602AC3439A96366744008F961486E/1.png" TargetMode="External"/><Relationship Id="rId2" Type="http://schemas.openxmlformats.org/officeDocument/2006/relationships/image" Target="../media/image10.png"/><Relationship Id="rId16" Type="http://schemas.openxmlformats.org/officeDocument/2006/relationships/image" Target="../media/image38.png"/><Relationship Id="rId1" Type="http://schemas.openxmlformats.org/officeDocument/2006/relationships/slideMaster" Target="../slideMasters/slideMaster7.xml"/><Relationship Id="rId6" Type="http://schemas.openxmlformats.org/officeDocument/2006/relationships/image" Target="../media/image18.png"/><Relationship Id="rId11" Type="http://schemas.openxmlformats.org/officeDocument/2006/relationships/image" Target="../media/image28.png"/><Relationship Id="rId5" Type="http://schemas.openxmlformats.org/officeDocument/2006/relationships/image" Target="../media/image16.png"/><Relationship Id="rId15" Type="http://schemas.openxmlformats.org/officeDocument/2006/relationships/image" Target="../media/image33.png"/><Relationship Id="rId10" Type="http://schemas.openxmlformats.org/officeDocument/2006/relationships/image" Target="../media/image26.png"/><Relationship Id="rId4" Type="http://schemas.openxmlformats.org/officeDocument/2006/relationships/image" Target="../media/image14.png"/><Relationship Id="rId9" Type="http://schemas.openxmlformats.org/officeDocument/2006/relationships/image" Target="../media/image24.png"/><Relationship Id="rId14" Type="http://schemas.openxmlformats.org/officeDocument/2006/relationships/image" Target="../media/image36.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34.png"/><Relationship Id="rId3" Type="http://schemas.openxmlformats.org/officeDocument/2006/relationships/image" Target="../media/image12.png"/><Relationship Id="rId7" Type="http://schemas.openxmlformats.org/officeDocument/2006/relationships/image" Target="../media/image20.png"/><Relationship Id="rId12" Type="http://schemas.openxmlformats.org/officeDocument/2006/relationships/image" Target="../media/image32.png"/><Relationship Id="rId17" Type="http://schemas.openxmlformats.org/officeDocument/2006/relationships/image" Target="http://C19E03B9ACCBFA56DC6DEDE59F81EABF.dms.sberbank.ru/C19E03B9ACCBFA56DC6DEDE59F81EABF-C84D87D17A171F6D15A801A76AF179A3-1E9602AC3439A96366744008F961486E/1.png" TargetMode="External"/><Relationship Id="rId2" Type="http://schemas.openxmlformats.org/officeDocument/2006/relationships/image" Target="../media/image10.png"/><Relationship Id="rId16" Type="http://schemas.openxmlformats.org/officeDocument/2006/relationships/image" Target="../media/image38.png"/><Relationship Id="rId1" Type="http://schemas.openxmlformats.org/officeDocument/2006/relationships/slideMaster" Target="../slideMasters/slideMaster7.xml"/><Relationship Id="rId6" Type="http://schemas.openxmlformats.org/officeDocument/2006/relationships/image" Target="../media/image18.png"/><Relationship Id="rId11" Type="http://schemas.openxmlformats.org/officeDocument/2006/relationships/image" Target="../media/image30.png"/><Relationship Id="rId5" Type="http://schemas.openxmlformats.org/officeDocument/2006/relationships/image" Target="../media/image16.png"/><Relationship Id="rId15" Type="http://schemas.openxmlformats.org/officeDocument/2006/relationships/image" Target="../media/image25.png"/><Relationship Id="rId10" Type="http://schemas.openxmlformats.org/officeDocument/2006/relationships/image" Target="../media/image28.png"/><Relationship Id="rId4" Type="http://schemas.openxmlformats.org/officeDocument/2006/relationships/image" Target="../media/image14.png"/><Relationship Id="rId9" Type="http://schemas.openxmlformats.org/officeDocument/2006/relationships/image" Target="../media/image26.png"/><Relationship Id="rId14" Type="http://schemas.openxmlformats.org/officeDocument/2006/relationships/image" Target="../media/image36.png"/></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34.png"/><Relationship Id="rId3" Type="http://schemas.openxmlformats.org/officeDocument/2006/relationships/image" Target="../media/image12.png"/><Relationship Id="rId7" Type="http://schemas.openxmlformats.org/officeDocument/2006/relationships/image" Target="../media/image20.png"/><Relationship Id="rId12" Type="http://schemas.openxmlformats.org/officeDocument/2006/relationships/image" Target="../media/image32.png"/><Relationship Id="rId17" Type="http://schemas.openxmlformats.org/officeDocument/2006/relationships/image" Target="http://C19E03B9ACCBFA56DC6DEDE59F81EABF.dms.sberbank.ru/C19E03B9ACCBFA56DC6DEDE59F81EABF-C84D87D17A171F6D15A801A76AF179A3-1E9602AC3439A96366744008F961486E/1.png" TargetMode="External"/><Relationship Id="rId2" Type="http://schemas.openxmlformats.org/officeDocument/2006/relationships/image" Target="../media/image10.png"/><Relationship Id="rId16" Type="http://schemas.openxmlformats.org/officeDocument/2006/relationships/image" Target="../media/image38.png"/><Relationship Id="rId1" Type="http://schemas.openxmlformats.org/officeDocument/2006/relationships/slideMaster" Target="../slideMasters/slideMaster7.xml"/><Relationship Id="rId6" Type="http://schemas.openxmlformats.org/officeDocument/2006/relationships/image" Target="../media/image18.png"/><Relationship Id="rId11" Type="http://schemas.openxmlformats.org/officeDocument/2006/relationships/image" Target="../media/image30.png"/><Relationship Id="rId5" Type="http://schemas.openxmlformats.org/officeDocument/2006/relationships/image" Target="../media/image16.png"/><Relationship Id="rId15" Type="http://schemas.openxmlformats.org/officeDocument/2006/relationships/image" Target="../media/image29.png"/><Relationship Id="rId10" Type="http://schemas.openxmlformats.org/officeDocument/2006/relationships/image" Target="../media/image26.png"/><Relationship Id="rId4" Type="http://schemas.openxmlformats.org/officeDocument/2006/relationships/image" Target="../media/image14.png"/><Relationship Id="rId9" Type="http://schemas.openxmlformats.org/officeDocument/2006/relationships/image" Target="../media/image24.png"/><Relationship Id="rId14" Type="http://schemas.openxmlformats.org/officeDocument/2006/relationships/image" Target="../media/image36.png"/></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34.png"/><Relationship Id="rId3" Type="http://schemas.openxmlformats.org/officeDocument/2006/relationships/image" Target="../media/image12.png"/><Relationship Id="rId7" Type="http://schemas.openxmlformats.org/officeDocument/2006/relationships/image" Target="../media/image22.png"/><Relationship Id="rId12" Type="http://schemas.openxmlformats.org/officeDocument/2006/relationships/image" Target="../media/image32.png"/><Relationship Id="rId17" Type="http://schemas.openxmlformats.org/officeDocument/2006/relationships/image" Target="http://C19E03B9ACCBFA56DC6DEDE59F81EABF.dms.sberbank.ru/C19E03B9ACCBFA56DC6DEDE59F81EABF-C84D87D17A171F6D15A801A76AF179A3-1E9602AC3439A96366744008F961486E/1.png" TargetMode="External"/><Relationship Id="rId2" Type="http://schemas.openxmlformats.org/officeDocument/2006/relationships/image" Target="../media/image10.png"/><Relationship Id="rId16" Type="http://schemas.openxmlformats.org/officeDocument/2006/relationships/image" Target="../media/image38.png"/><Relationship Id="rId1" Type="http://schemas.openxmlformats.org/officeDocument/2006/relationships/slideMaster" Target="../slideMasters/slideMaster7.xml"/><Relationship Id="rId6" Type="http://schemas.openxmlformats.org/officeDocument/2006/relationships/image" Target="../media/image20.png"/><Relationship Id="rId11" Type="http://schemas.openxmlformats.org/officeDocument/2006/relationships/image" Target="../media/image30.png"/><Relationship Id="rId5" Type="http://schemas.openxmlformats.org/officeDocument/2006/relationships/image" Target="../media/image18.png"/><Relationship Id="rId15" Type="http://schemas.openxmlformats.org/officeDocument/2006/relationships/image" Target="../media/image17.png"/><Relationship Id="rId10" Type="http://schemas.openxmlformats.org/officeDocument/2006/relationships/image" Target="../media/image28.png"/><Relationship Id="rId4" Type="http://schemas.openxmlformats.org/officeDocument/2006/relationships/image" Target="../media/image14.png"/><Relationship Id="rId9" Type="http://schemas.openxmlformats.org/officeDocument/2006/relationships/image" Target="../media/image26.png"/><Relationship Id="rId14" Type="http://schemas.openxmlformats.org/officeDocument/2006/relationships/image" Target="../media/image36.png"/></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34.png"/><Relationship Id="rId3" Type="http://schemas.openxmlformats.org/officeDocument/2006/relationships/image" Target="../media/image12.png"/><Relationship Id="rId7" Type="http://schemas.openxmlformats.org/officeDocument/2006/relationships/image" Target="../media/image22.png"/><Relationship Id="rId12" Type="http://schemas.openxmlformats.org/officeDocument/2006/relationships/image" Target="../media/image32.png"/><Relationship Id="rId17" Type="http://schemas.openxmlformats.org/officeDocument/2006/relationships/image" Target="http://C19E03B9ACCBFA56DC6DEDE59F81EABF.dms.sberbank.ru/C19E03B9ACCBFA56DC6DEDE59F81EABF-C84D87D17A171F6D15A801A76AF179A3-1E9602AC3439A96366744008F961486E/1.png" TargetMode="External"/><Relationship Id="rId2" Type="http://schemas.openxmlformats.org/officeDocument/2006/relationships/image" Target="../media/image10.png"/><Relationship Id="rId16" Type="http://schemas.openxmlformats.org/officeDocument/2006/relationships/image" Target="../media/image38.png"/><Relationship Id="rId1" Type="http://schemas.openxmlformats.org/officeDocument/2006/relationships/slideMaster" Target="../slideMasters/slideMaster7.xml"/><Relationship Id="rId6" Type="http://schemas.openxmlformats.org/officeDocument/2006/relationships/image" Target="../media/image20.png"/><Relationship Id="rId11" Type="http://schemas.openxmlformats.org/officeDocument/2006/relationships/image" Target="../media/image30.png"/><Relationship Id="rId5" Type="http://schemas.openxmlformats.org/officeDocument/2006/relationships/image" Target="../media/image18.png"/><Relationship Id="rId15" Type="http://schemas.openxmlformats.org/officeDocument/2006/relationships/image" Target="../media/image15.png"/><Relationship Id="rId10" Type="http://schemas.openxmlformats.org/officeDocument/2006/relationships/image" Target="../media/image28.png"/><Relationship Id="rId4" Type="http://schemas.openxmlformats.org/officeDocument/2006/relationships/image" Target="../media/image16.png"/><Relationship Id="rId9" Type="http://schemas.openxmlformats.org/officeDocument/2006/relationships/image" Target="../media/image26.png"/><Relationship Id="rId14" Type="http://schemas.openxmlformats.org/officeDocument/2006/relationships/image" Target="../media/image36.png"/></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34.png"/><Relationship Id="rId3" Type="http://schemas.openxmlformats.org/officeDocument/2006/relationships/image" Target="../media/image14.png"/><Relationship Id="rId7" Type="http://schemas.openxmlformats.org/officeDocument/2006/relationships/image" Target="../media/image22.png"/><Relationship Id="rId12" Type="http://schemas.openxmlformats.org/officeDocument/2006/relationships/image" Target="../media/image32.png"/><Relationship Id="rId17" Type="http://schemas.openxmlformats.org/officeDocument/2006/relationships/image" Target="http://C19E03B9ACCBFA56DC6DEDE59F81EABF.dms.sberbank.ru/C19E03B9ACCBFA56DC6DEDE59F81EABF-C84D87D17A171F6D15A801A76AF179A3-ABD1954582B367FE0B5E580EEE7824CD/1.png" TargetMode="External"/><Relationship Id="rId2" Type="http://schemas.openxmlformats.org/officeDocument/2006/relationships/image" Target="../media/image10.png"/><Relationship Id="rId16" Type="http://schemas.openxmlformats.org/officeDocument/2006/relationships/image" Target="../media/image38.png"/><Relationship Id="rId1" Type="http://schemas.openxmlformats.org/officeDocument/2006/relationships/slideMaster" Target="../slideMasters/slideMaster7.xml"/><Relationship Id="rId6" Type="http://schemas.openxmlformats.org/officeDocument/2006/relationships/image" Target="../media/image20.png"/><Relationship Id="rId11" Type="http://schemas.openxmlformats.org/officeDocument/2006/relationships/image" Target="../media/image30.png"/><Relationship Id="rId5" Type="http://schemas.openxmlformats.org/officeDocument/2006/relationships/image" Target="../media/image18.png"/><Relationship Id="rId15" Type="http://schemas.openxmlformats.org/officeDocument/2006/relationships/image" Target="../media/image13.png"/><Relationship Id="rId10" Type="http://schemas.openxmlformats.org/officeDocument/2006/relationships/image" Target="../media/image28.png"/><Relationship Id="rId4" Type="http://schemas.openxmlformats.org/officeDocument/2006/relationships/image" Target="../media/image16.png"/><Relationship Id="rId9" Type="http://schemas.openxmlformats.org/officeDocument/2006/relationships/image" Target="../media/image26.png"/><Relationship Id="rId14" Type="http://schemas.openxmlformats.org/officeDocument/2006/relationships/image" Target="../media/image36.png"/></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34.png"/><Relationship Id="rId3" Type="http://schemas.openxmlformats.org/officeDocument/2006/relationships/image" Target="../media/image14.png"/><Relationship Id="rId7" Type="http://schemas.openxmlformats.org/officeDocument/2006/relationships/image" Target="../media/image22.png"/><Relationship Id="rId12" Type="http://schemas.openxmlformats.org/officeDocument/2006/relationships/image" Target="../media/image32.png"/><Relationship Id="rId17" Type="http://schemas.openxmlformats.org/officeDocument/2006/relationships/image" Target="http://C19E03B9ACCBFA56DC6DEDE59F81EABF.dms.sberbank.ru/C19E03B9ACCBFA56DC6DEDE59F81EABF-C84D87D17A171F6D15A801A76AF179A3-1E9602AC3439A96366744008F961486E/1.png" TargetMode="External"/><Relationship Id="rId2" Type="http://schemas.openxmlformats.org/officeDocument/2006/relationships/image" Target="../media/image12.png"/><Relationship Id="rId16" Type="http://schemas.openxmlformats.org/officeDocument/2006/relationships/image" Target="../media/image38.png"/><Relationship Id="rId1" Type="http://schemas.openxmlformats.org/officeDocument/2006/relationships/slideMaster" Target="../slideMasters/slideMaster7.xml"/><Relationship Id="rId6" Type="http://schemas.openxmlformats.org/officeDocument/2006/relationships/image" Target="../media/image20.png"/><Relationship Id="rId11" Type="http://schemas.openxmlformats.org/officeDocument/2006/relationships/image" Target="../media/image30.png"/><Relationship Id="rId5" Type="http://schemas.openxmlformats.org/officeDocument/2006/relationships/image" Target="../media/image18.png"/><Relationship Id="rId15" Type="http://schemas.openxmlformats.org/officeDocument/2006/relationships/image" Target="../media/image11.png"/><Relationship Id="rId10" Type="http://schemas.openxmlformats.org/officeDocument/2006/relationships/image" Target="../media/image28.png"/><Relationship Id="rId4" Type="http://schemas.openxmlformats.org/officeDocument/2006/relationships/image" Target="../media/image16.png"/><Relationship Id="rId9" Type="http://schemas.openxmlformats.org/officeDocument/2006/relationships/image" Target="../media/image26.png"/><Relationship Id="rId14" Type="http://schemas.openxmlformats.org/officeDocument/2006/relationships/image" Target="../media/image36.png"/></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34.png"/><Relationship Id="rId3" Type="http://schemas.openxmlformats.org/officeDocument/2006/relationships/image" Target="../media/image12.png"/><Relationship Id="rId7" Type="http://schemas.openxmlformats.org/officeDocument/2006/relationships/image" Target="../media/image22.png"/><Relationship Id="rId12" Type="http://schemas.openxmlformats.org/officeDocument/2006/relationships/image" Target="../media/image32.png"/><Relationship Id="rId17" Type="http://schemas.openxmlformats.org/officeDocument/2006/relationships/image" Target="http://C19E03B9ACCBFA56DC6DEDE59F81EABF.dms.sberbank.ru/C19E03B9ACCBFA56DC6DEDE59F81EABF-C84D87D17A171F6D15A801A76AF179A3-1E9602AC3439A96366744008F961486E/1.png" TargetMode="External"/><Relationship Id="rId2" Type="http://schemas.openxmlformats.org/officeDocument/2006/relationships/image" Target="../media/image10.png"/><Relationship Id="rId16" Type="http://schemas.openxmlformats.org/officeDocument/2006/relationships/image" Target="../media/image38.png"/><Relationship Id="rId1" Type="http://schemas.openxmlformats.org/officeDocument/2006/relationships/slideMaster" Target="../slideMasters/slideMaster7.xml"/><Relationship Id="rId6" Type="http://schemas.openxmlformats.org/officeDocument/2006/relationships/image" Target="../media/image18.png"/><Relationship Id="rId11" Type="http://schemas.openxmlformats.org/officeDocument/2006/relationships/image" Target="../media/image30.png"/><Relationship Id="rId5" Type="http://schemas.openxmlformats.org/officeDocument/2006/relationships/image" Target="../media/image16.png"/><Relationship Id="rId15" Type="http://schemas.openxmlformats.org/officeDocument/2006/relationships/image" Target="../media/image21.png"/><Relationship Id="rId10" Type="http://schemas.openxmlformats.org/officeDocument/2006/relationships/image" Target="../media/image28.png"/><Relationship Id="rId4" Type="http://schemas.openxmlformats.org/officeDocument/2006/relationships/image" Target="../media/image14.png"/><Relationship Id="rId9" Type="http://schemas.openxmlformats.org/officeDocument/2006/relationships/image" Target="../media/image26.png"/><Relationship Id="rId14" Type="http://schemas.openxmlformats.org/officeDocument/2006/relationships/image" Target="../media/image36.png"/></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34.png"/><Relationship Id="rId3" Type="http://schemas.openxmlformats.org/officeDocument/2006/relationships/image" Target="../media/image12.png"/><Relationship Id="rId7" Type="http://schemas.openxmlformats.org/officeDocument/2006/relationships/image" Target="../media/image20.png"/><Relationship Id="rId12" Type="http://schemas.openxmlformats.org/officeDocument/2006/relationships/image" Target="../media/image32.png"/><Relationship Id="rId17" Type="http://schemas.openxmlformats.org/officeDocument/2006/relationships/image" Target="http://C19E03B9ACCBFA56DC6DEDE59F81EABF.dms.sberbank.ru/C19E03B9ACCBFA56DC6DEDE59F81EABF-C84D87D17A171F6D15A801A76AF179A3-1E9602AC3439A96366744008F961486E/1.png" TargetMode="External"/><Relationship Id="rId2" Type="http://schemas.openxmlformats.org/officeDocument/2006/relationships/image" Target="../media/image10.png"/><Relationship Id="rId16" Type="http://schemas.openxmlformats.org/officeDocument/2006/relationships/image" Target="../media/image38.png"/><Relationship Id="rId1" Type="http://schemas.openxmlformats.org/officeDocument/2006/relationships/slideMaster" Target="../slideMasters/slideMaster7.xml"/><Relationship Id="rId6" Type="http://schemas.openxmlformats.org/officeDocument/2006/relationships/image" Target="../media/image18.png"/><Relationship Id="rId11" Type="http://schemas.openxmlformats.org/officeDocument/2006/relationships/image" Target="../media/image30.png"/><Relationship Id="rId5" Type="http://schemas.openxmlformats.org/officeDocument/2006/relationships/image" Target="../media/image16.png"/><Relationship Id="rId15" Type="http://schemas.openxmlformats.org/officeDocument/2006/relationships/image" Target="../media/image23.png"/><Relationship Id="rId10" Type="http://schemas.openxmlformats.org/officeDocument/2006/relationships/image" Target="../media/image28.png"/><Relationship Id="rId4" Type="http://schemas.openxmlformats.org/officeDocument/2006/relationships/image" Target="../media/image14.png"/><Relationship Id="rId9" Type="http://schemas.openxmlformats.org/officeDocument/2006/relationships/image" Target="../media/image26.png"/><Relationship Id="rId14" Type="http://schemas.openxmlformats.org/officeDocument/2006/relationships/image" Target="../media/image36.png"/></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34.png"/><Relationship Id="rId3" Type="http://schemas.openxmlformats.org/officeDocument/2006/relationships/image" Target="../media/image12.png"/><Relationship Id="rId7" Type="http://schemas.openxmlformats.org/officeDocument/2006/relationships/image" Target="../media/image22.png"/><Relationship Id="rId12" Type="http://schemas.openxmlformats.org/officeDocument/2006/relationships/image" Target="../media/image32.png"/><Relationship Id="rId17" Type="http://schemas.openxmlformats.org/officeDocument/2006/relationships/image" Target="http://C19E03B9ACCBFA56DC6DEDE59F81EABF.dms.sberbank.ru/C19E03B9ACCBFA56DC6DEDE59F81EABF-C84D87D17A171F6D15A801A76AF179A3-1E9602AC3439A96366744008F961486E/1.png" TargetMode="External"/><Relationship Id="rId2" Type="http://schemas.openxmlformats.org/officeDocument/2006/relationships/image" Target="../media/image10.png"/><Relationship Id="rId16" Type="http://schemas.openxmlformats.org/officeDocument/2006/relationships/image" Target="../media/image38.png"/><Relationship Id="rId1" Type="http://schemas.openxmlformats.org/officeDocument/2006/relationships/slideMaster" Target="../slideMasters/slideMaster7.xml"/><Relationship Id="rId6" Type="http://schemas.openxmlformats.org/officeDocument/2006/relationships/image" Target="../media/image20.png"/><Relationship Id="rId11" Type="http://schemas.openxmlformats.org/officeDocument/2006/relationships/image" Target="../media/image30.png"/><Relationship Id="rId5" Type="http://schemas.openxmlformats.org/officeDocument/2006/relationships/image" Target="../media/image16.png"/><Relationship Id="rId15" Type="http://schemas.openxmlformats.org/officeDocument/2006/relationships/image" Target="../media/image19.png"/><Relationship Id="rId10" Type="http://schemas.openxmlformats.org/officeDocument/2006/relationships/image" Target="../media/image28.png"/><Relationship Id="rId4" Type="http://schemas.openxmlformats.org/officeDocument/2006/relationships/image" Target="../media/image14.png"/><Relationship Id="rId9" Type="http://schemas.openxmlformats.org/officeDocument/2006/relationships/image" Target="../media/image26.png"/><Relationship Id="rId14" Type="http://schemas.openxmlformats.org/officeDocument/2006/relationships/image" Target="../media/image36.png"/></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34.png"/><Relationship Id="rId3" Type="http://schemas.openxmlformats.org/officeDocument/2006/relationships/image" Target="../media/image12.png"/><Relationship Id="rId7" Type="http://schemas.openxmlformats.org/officeDocument/2006/relationships/image" Target="../media/image20.png"/><Relationship Id="rId12" Type="http://schemas.openxmlformats.org/officeDocument/2006/relationships/image" Target="../media/image32.png"/><Relationship Id="rId17" Type="http://schemas.openxmlformats.org/officeDocument/2006/relationships/image" Target="http://C19E03B9ACCBFA56DC6DEDE59F81EABF.dms.sberbank.ru/C19E03B9ACCBFA56DC6DEDE59F81EABF-C84D87D17A171F6D15A801A76AF179A3-1E9602AC3439A96366744008F961486E/1.png" TargetMode="External"/><Relationship Id="rId2" Type="http://schemas.openxmlformats.org/officeDocument/2006/relationships/image" Target="../media/image10.png"/><Relationship Id="rId16" Type="http://schemas.openxmlformats.org/officeDocument/2006/relationships/image" Target="../media/image38.png"/><Relationship Id="rId1" Type="http://schemas.openxmlformats.org/officeDocument/2006/relationships/slideMaster" Target="../slideMasters/slideMaster7.xml"/><Relationship Id="rId6" Type="http://schemas.openxmlformats.org/officeDocument/2006/relationships/image" Target="../media/image18.png"/><Relationship Id="rId11" Type="http://schemas.openxmlformats.org/officeDocument/2006/relationships/image" Target="../media/image30.png"/><Relationship Id="rId5" Type="http://schemas.openxmlformats.org/officeDocument/2006/relationships/image" Target="../media/image16.png"/><Relationship Id="rId15" Type="http://schemas.openxmlformats.org/officeDocument/2006/relationships/image" Target="../media/image27.png"/><Relationship Id="rId10" Type="http://schemas.openxmlformats.org/officeDocument/2006/relationships/image" Target="../media/image28.png"/><Relationship Id="rId4" Type="http://schemas.openxmlformats.org/officeDocument/2006/relationships/image" Target="../media/image14.png"/><Relationship Id="rId9" Type="http://schemas.openxmlformats.org/officeDocument/2006/relationships/image" Target="../media/image24.png"/><Relationship Id="rId14" Type="http://schemas.openxmlformats.org/officeDocument/2006/relationships/image" Target="../media/image36.png"/></Relationships>
</file>

<file path=ppt/slideLayouts/_rels/slideLayout4.xml.rels><?xml version="1.0" encoding="UTF-8" standalone="yes"?>
<Relationships xmlns="http://schemas.openxmlformats.org/package/2006/relationships"><Relationship Id="rId2" Type="http://schemas.openxmlformats.org/officeDocument/2006/relationships/image" Target="http://93A7C4B339CCDD211E158032049A3A49.dms.sberbank.ru/93A7C4B339CCDD211E158032049A3A49-048609E64F524779FACC06A290525D57-028113238EC6D8AC5E862ACF66077798/1.png" TargetMode="External"/><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34.png"/><Relationship Id="rId3" Type="http://schemas.openxmlformats.org/officeDocument/2006/relationships/image" Target="../media/image12.png"/><Relationship Id="rId7" Type="http://schemas.openxmlformats.org/officeDocument/2006/relationships/image" Target="../media/image20.png"/><Relationship Id="rId12" Type="http://schemas.openxmlformats.org/officeDocument/2006/relationships/image" Target="../media/image32.png"/><Relationship Id="rId17" Type="http://schemas.openxmlformats.org/officeDocument/2006/relationships/image" Target="http://C19E03B9ACCBFA56DC6DEDE59F81EABF.dms.sberbank.ru/C19E03B9ACCBFA56DC6DEDE59F81EABF-C84D87D17A171F6D15A801A76AF179A3-1E9602AC3439A96366744008F961486E/1.png" TargetMode="External"/><Relationship Id="rId2" Type="http://schemas.openxmlformats.org/officeDocument/2006/relationships/image" Target="../media/image10.png"/><Relationship Id="rId16" Type="http://schemas.openxmlformats.org/officeDocument/2006/relationships/image" Target="../media/image38.png"/><Relationship Id="rId1" Type="http://schemas.openxmlformats.org/officeDocument/2006/relationships/slideMaster" Target="../slideMasters/slideMaster7.xml"/><Relationship Id="rId6" Type="http://schemas.openxmlformats.org/officeDocument/2006/relationships/image" Target="../media/image18.png"/><Relationship Id="rId11" Type="http://schemas.openxmlformats.org/officeDocument/2006/relationships/image" Target="../media/image28.png"/><Relationship Id="rId5" Type="http://schemas.openxmlformats.org/officeDocument/2006/relationships/image" Target="../media/image16.png"/><Relationship Id="rId15" Type="http://schemas.openxmlformats.org/officeDocument/2006/relationships/image" Target="../media/image31.png"/><Relationship Id="rId10" Type="http://schemas.openxmlformats.org/officeDocument/2006/relationships/image" Target="../media/image26.png"/><Relationship Id="rId4" Type="http://schemas.openxmlformats.org/officeDocument/2006/relationships/image" Target="../media/image14.png"/><Relationship Id="rId9" Type="http://schemas.openxmlformats.org/officeDocument/2006/relationships/image" Target="../media/image24.png"/><Relationship Id="rId14" Type="http://schemas.openxmlformats.org/officeDocument/2006/relationships/image" Target="../media/image36.png"/></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32.png"/><Relationship Id="rId3" Type="http://schemas.openxmlformats.org/officeDocument/2006/relationships/image" Target="../media/image12.png"/><Relationship Id="rId7" Type="http://schemas.openxmlformats.org/officeDocument/2006/relationships/image" Target="../media/image20.png"/><Relationship Id="rId12" Type="http://schemas.openxmlformats.org/officeDocument/2006/relationships/image" Target="../media/image30.png"/><Relationship Id="rId17" Type="http://schemas.openxmlformats.org/officeDocument/2006/relationships/image" Target="http://C19E03B9ACCBFA56DC6DEDE59F81EABF.dms.sberbank.ru/C19E03B9ACCBFA56DC6DEDE59F81EABF-C84D87D17A171F6D15A801A76AF179A3-1E9602AC3439A96366744008F961486E/1.png" TargetMode="External"/><Relationship Id="rId2" Type="http://schemas.openxmlformats.org/officeDocument/2006/relationships/image" Target="../media/image10.png"/><Relationship Id="rId16" Type="http://schemas.openxmlformats.org/officeDocument/2006/relationships/image" Target="../media/image38.png"/><Relationship Id="rId1" Type="http://schemas.openxmlformats.org/officeDocument/2006/relationships/slideMaster" Target="../slideMasters/slideMaster7.xml"/><Relationship Id="rId6" Type="http://schemas.openxmlformats.org/officeDocument/2006/relationships/image" Target="../media/image18.png"/><Relationship Id="rId11" Type="http://schemas.openxmlformats.org/officeDocument/2006/relationships/image" Target="../media/image28.png"/><Relationship Id="rId5" Type="http://schemas.openxmlformats.org/officeDocument/2006/relationships/image" Target="../media/image16.png"/><Relationship Id="rId15" Type="http://schemas.openxmlformats.org/officeDocument/2006/relationships/image" Target="../media/image35.png"/><Relationship Id="rId10" Type="http://schemas.openxmlformats.org/officeDocument/2006/relationships/image" Target="../media/image26.png"/><Relationship Id="rId4" Type="http://schemas.openxmlformats.org/officeDocument/2006/relationships/image" Target="../media/image14.png"/><Relationship Id="rId9" Type="http://schemas.openxmlformats.org/officeDocument/2006/relationships/image" Target="../media/image24.png"/><Relationship Id="rId14" Type="http://schemas.openxmlformats.org/officeDocument/2006/relationships/image" Target="../media/image36.png"/></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32.png"/><Relationship Id="rId3" Type="http://schemas.openxmlformats.org/officeDocument/2006/relationships/image" Target="../media/image12.png"/><Relationship Id="rId7" Type="http://schemas.openxmlformats.org/officeDocument/2006/relationships/image" Target="../media/image20.png"/><Relationship Id="rId12" Type="http://schemas.openxmlformats.org/officeDocument/2006/relationships/image" Target="../media/image30.png"/><Relationship Id="rId17" Type="http://schemas.openxmlformats.org/officeDocument/2006/relationships/image" Target="http://C19E03B9ACCBFA56DC6DEDE59F81EABF.dms.sberbank.ru/C19E03B9ACCBFA56DC6DEDE59F81EABF-C84D87D17A171F6D15A801A76AF179A3-1E9602AC3439A96366744008F961486E/1.png" TargetMode="External"/><Relationship Id="rId2" Type="http://schemas.openxmlformats.org/officeDocument/2006/relationships/image" Target="../media/image10.png"/><Relationship Id="rId16" Type="http://schemas.openxmlformats.org/officeDocument/2006/relationships/image" Target="../media/image38.png"/><Relationship Id="rId1" Type="http://schemas.openxmlformats.org/officeDocument/2006/relationships/slideMaster" Target="../slideMasters/slideMaster7.xml"/><Relationship Id="rId6" Type="http://schemas.openxmlformats.org/officeDocument/2006/relationships/image" Target="../media/image18.png"/><Relationship Id="rId11" Type="http://schemas.openxmlformats.org/officeDocument/2006/relationships/image" Target="../media/image28.png"/><Relationship Id="rId5" Type="http://schemas.openxmlformats.org/officeDocument/2006/relationships/image" Target="../media/image16.png"/><Relationship Id="rId15" Type="http://schemas.openxmlformats.org/officeDocument/2006/relationships/image" Target="../media/image37.png"/><Relationship Id="rId10" Type="http://schemas.openxmlformats.org/officeDocument/2006/relationships/image" Target="../media/image26.png"/><Relationship Id="rId4" Type="http://schemas.openxmlformats.org/officeDocument/2006/relationships/image" Target="../media/image14.png"/><Relationship Id="rId9" Type="http://schemas.openxmlformats.org/officeDocument/2006/relationships/image" Target="../media/image24.png"/><Relationship Id="rId14" Type="http://schemas.openxmlformats.org/officeDocument/2006/relationships/image" Target="../media/image34.png"/></Relationships>
</file>

<file path=ppt/slideLayouts/_rels/slideLayout43.xml.rels><?xml version="1.0" encoding="UTF-8" standalone="yes"?>
<Relationships xmlns="http://schemas.openxmlformats.org/package/2006/relationships"><Relationship Id="rId3" Type="http://schemas.openxmlformats.org/officeDocument/2006/relationships/image" Target="http://DF3E5075026D06B109AE70DBF9D6CDD1.dms.sberbank.ru/DF3E5075026D06B109AE70DBF9D6CDD1-92DCC9725E0A03BFCF87C98938EC5031-7C306E030999F7BF689A16489D167D10/1.png" TargetMode="External"/><Relationship Id="rId2" Type="http://schemas.openxmlformats.org/officeDocument/2006/relationships/image" Target="../media/image39.png"/><Relationship Id="rId1" Type="http://schemas.openxmlformats.org/officeDocument/2006/relationships/slideMaster" Target="../slideMasters/slideMaster7.xml"/></Relationships>
</file>

<file path=ppt/slideLayouts/_rels/slideLayout4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7.xml"/></Relationships>
</file>

<file path=ppt/slideLayouts/_rels/slideLayout45.xml.rels><?xml version="1.0" encoding="UTF-8" standalone="yes"?>
<Relationships xmlns="http://schemas.openxmlformats.org/package/2006/relationships"><Relationship Id="rId3" Type="http://schemas.openxmlformats.org/officeDocument/2006/relationships/image" Target="http://D0340E7D5E8451B36CF9DE5E517AB11D.dms.sberbank.ru/D0340E7D5E8451B36CF9DE5E517AB11D-76E77F61EA6BF346E8CD249421A1F0C6-979C24910635A5F09AF6D68FE94A4CA8/1.png" TargetMode="External"/><Relationship Id="rId2" Type="http://schemas.openxmlformats.org/officeDocument/2006/relationships/image" Target="NULL"/><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0.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http://277CFEF32177A4B1AA838F1AC8627F3C.dms.sberbank.ru/277CFEF32177A4B1AA838F1AC8627F3C-D721484550977C95F98CF7A7709B105F-B058A5EA472CB7D47202A9B873626704/1.png" TargetMode="External"/><Relationship Id="rId5" Type="http://schemas.openxmlformats.org/officeDocument/2006/relationships/image" Target="NULL"/><Relationship Id="rId4" Type="http://schemas.openxmlformats.org/officeDocument/2006/relationships/oleObject" Target="../embeddings/oleObject10.bin"/></Relationships>
</file>

<file path=ppt/slideLayouts/_rels/slideLayout6.xml.rels><?xml version="1.0" encoding="UTF-8" standalone="yes"?>
<Relationships xmlns="http://schemas.openxmlformats.org/package/2006/relationships"><Relationship Id="rId2" Type="http://schemas.openxmlformats.org/officeDocument/2006/relationships/image" Target="http://93A7C4B339CCDD211E158032049A3A49.dms.sberbank.ru/93A7C4B339CCDD211E158032049A3A49-048609E64F524779FACC06A290525D57-028113238EC6D8AC5E862ACF66077798/1.png" TargetMode="External"/><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Титульный слайд">
    <p:spTree>
      <p:nvGrpSpPr>
        <p:cNvPr id="1" name=""/>
        <p:cNvGrpSpPr/>
        <p:nvPr/>
      </p:nvGrpSpPr>
      <p:grpSpPr>
        <a:xfrm>
          <a:off x="0" y="0"/>
          <a:ext cx="0" cy="0"/>
          <a:chOff x="0" y="0"/>
          <a:chExt cx="0" cy="0"/>
        </a:xfrm>
      </p:grpSpPr>
      <p:sp>
        <p:nvSpPr>
          <p:cNvPr id="6" name="Номер слайда 5">
            <a:extLst>
              <a:ext uri="{FF2B5EF4-FFF2-40B4-BE49-F238E27FC236}">
                <a16:creationId xmlns:a16="http://schemas.microsoft.com/office/drawing/2014/main" id="{7A1B117A-CE21-4836-AB2E-8DAF1E6D3D17}"/>
              </a:ext>
            </a:extLst>
          </p:cNvPr>
          <p:cNvSpPr>
            <a:spLocks noGrp="1"/>
          </p:cNvSpPr>
          <p:nvPr>
            <p:ph type="sldNum" sz="quarter" idx="12"/>
          </p:nvPr>
        </p:nvSpPr>
        <p:spPr>
          <a:xfrm>
            <a:off x="3257548" y="6126266"/>
            <a:ext cx="521496" cy="365125"/>
          </a:xfrm>
          <a:prstGeom prst="rect">
            <a:avLst/>
          </a:prstGeom>
        </p:spPr>
        <p:txBody>
          <a:bodyPr/>
          <a:lstStyle/>
          <a:p>
            <a:fld id="{054C8753-49EE-4AA4-B7F7-004F2534EA1E}" type="slidenum">
              <a:rPr lang="ru-RU" smtClean="0"/>
              <a:t>‹#›</a:t>
            </a:fld>
            <a:endParaRPr lang="ru-RU" dirty="0"/>
          </a:p>
        </p:txBody>
      </p:sp>
      <p:pic>
        <p:nvPicPr>
          <p:cNvPr id="2" name="Рисунок 1" descr="http://8FB5843F48046975B704222F29D426D5.dms.sberbank.ru/8FB5843F48046975B704222F29D426D5-92DCC9725E0A03BFCF87C98938EC5031-F580345CCB2E5D2A12308062CC9D6F08/1.png"/>
          <p:cNvPicPr>
            <a:picLocks/>
          </p:cNvPicPr>
          <p:nvPr userDrawn="1"/>
        </p:nvPicPr>
        <p:blipFill>
          <a:blip r:link="rId2"/>
          <a:stretch>
            <a:fillRect/>
          </a:stretch>
        </p:blipFill>
        <p:spPr>
          <a:xfrm>
            <a:off x="0" y="0"/>
            <a:ext cx="1588" cy="1588"/>
          </a:xfrm>
          <a:prstGeom prst="rect">
            <a:avLst/>
          </a:prstGeom>
        </p:spPr>
      </p:pic>
      <p:pic>
        <p:nvPicPr>
          <p:cNvPr id="3" name="Рисунок 2" descr="http://8FB5843F48046975B704222F29D426D5.dms.sberbank.ru/8FB5843F48046975B704222F29D426D5-92DCC9725E0A03BFCF87C98938EC5031-F580345CCB2E5D2A12308062CC9D6F08/1.png"/>
          <p:cNvPicPr>
            <a:picLocks/>
          </p:cNvPicPr>
          <p:nvPr userDrawn="1"/>
        </p:nvPicPr>
        <p:blipFill>
          <a:blip r:link="rId2"/>
          <a:stretch>
            <a:fillRect/>
          </a:stretch>
        </p:blipFill>
        <p:spPr>
          <a:xfrm>
            <a:off x="0" y="0"/>
            <a:ext cx="1588" cy="1588"/>
          </a:xfrm>
          <a:prstGeom prst="rect">
            <a:avLst/>
          </a:prstGeom>
        </p:spPr>
      </p:pic>
    </p:spTree>
    <p:extLst>
      <p:ext uri="{BB962C8B-B14F-4D97-AF65-F5344CB8AC3E}">
        <p14:creationId xmlns:p14="http://schemas.microsoft.com/office/powerpoint/2010/main" val="7647654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Заголовок и объект">
    <p:spTree>
      <p:nvGrpSpPr>
        <p:cNvPr id="1" name=""/>
        <p:cNvGrpSpPr/>
        <p:nvPr/>
      </p:nvGrpSpPr>
      <p:grpSpPr>
        <a:xfrm>
          <a:off x="0" y="0"/>
          <a:ext cx="0" cy="0"/>
          <a:chOff x="0" y="0"/>
          <a:chExt cx="0" cy="0"/>
        </a:xfrm>
      </p:grpSpPr>
      <p:sp>
        <p:nvSpPr>
          <p:cNvPr id="6" name="Номер слайда 5">
            <a:extLst>
              <a:ext uri="{FF2B5EF4-FFF2-40B4-BE49-F238E27FC236}">
                <a16:creationId xmlns:a16="http://schemas.microsoft.com/office/drawing/2014/main" id="{07C9C99F-1874-4DEC-9199-237D97772B1B}"/>
              </a:ext>
            </a:extLst>
          </p:cNvPr>
          <p:cNvSpPr>
            <a:spLocks noGrp="1"/>
          </p:cNvSpPr>
          <p:nvPr>
            <p:ph type="sldNum" sz="quarter" idx="12"/>
          </p:nvPr>
        </p:nvSpPr>
        <p:spPr>
          <a:xfrm>
            <a:off x="3257548" y="6126265"/>
            <a:ext cx="521496" cy="365125"/>
          </a:xfrm>
          <a:prstGeom prst="rect">
            <a:avLst/>
          </a:prstGeom>
        </p:spPr>
        <p:txBody>
          <a:bodyPr/>
          <a:lstStyle/>
          <a:p>
            <a:fld id="{054C8753-49EE-4AA4-B7F7-004F2534EA1E}" type="slidenum">
              <a:rPr lang="ru-RU" smtClean="0"/>
              <a:pPr/>
              <a:t>‹#›</a:t>
            </a:fld>
            <a:endParaRPr lang="ru-RU" dirty="0"/>
          </a:p>
        </p:txBody>
      </p:sp>
    </p:spTree>
    <p:extLst>
      <p:ext uri="{BB962C8B-B14F-4D97-AF65-F5344CB8AC3E}">
        <p14:creationId xmlns:p14="http://schemas.microsoft.com/office/powerpoint/2010/main" val="145323154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Титул с картинкой на фоне">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0"/>
            <a:ext cx="12192000" cy="6858000"/>
          </a:xfrm>
          <a:prstGeom prst="rect">
            <a:avLst/>
          </a:prstGeom>
        </p:spPr>
        <p:txBody>
          <a:bodyPr lIns="68580" tIns="34290" rIns="68580" bIns="34290"/>
          <a:lstStyle>
            <a:lvl1pPr>
              <a:defRPr sz="1200">
                <a:solidFill>
                  <a:schemeClr val="bg1"/>
                </a:solidFill>
              </a:defRPr>
            </a:lvl1pPr>
          </a:lstStyle>
          <a:p>
            <a:endParaRPr lang="en-US" dirty="0"/>
          </a:p>
        </p:txBody>
      </p:sp>
      <p:sp>
        <p:nvSpPr>
          <p:cNvPr id="33" name="Title 9"/>
          <p:cNvSpPr>
            <a:spLocks noGrp="1"/>
          </p:cNvSpPr>
          <p:nvPr>
            <p:ph type="title" hasCustomPrompt="1"/>
          </p:nvPr>
        </p:nvSpPr>
        <p:spPr>
          <a:xfrm>
            <a:off x="587378" y="2097092"/>
            <a:ext cx="10188575" cy="701731"/>
          </a:xfrm>
          <a:prstGeom prst="rect">
            <a:avLst/>
          </a:prstGeom>
        </p:spPr>
        <p:txBody>
          <a:bodyPr lIns="68580" tIns="34290" rIns="68580" bIns="34290" anchor="t" anchorCtr="0">
            <a:spAutoFit/>
          </a:bodyPr>
          <a:lstStyle>
            <a:lvl1pPr>
              <a:lnSpc>
                <a:spcPct val="90000"/>
              </a:lnSpc>
              <a:defRPr sz="4400" b="0" i="0" cap="none" baseline="0">
                <a:solidFill>
                  <a:schemeClr val="bg1"/>
                </a:solidFill>
                <a:latin typeface="+mj-lt"/>
                <a:ea typeface="Calibri Light" charset="0"/>
                <a:cs typeface="Calibri Light" charset="0"/>
              </a:defRPr>
            </a:lvl1pPr>
          </a:lstStyle>
          <a:p>
            <a:r>
              <a:rPr lang="ru-RU" dirty="0"/>
              <a:t>Название презентации</a:t>
            </a:r>
            <a:endParaRPr lang="en-US" dirty="0"/>
          </a:p>
        </p:txBody>
      </p:sp>
      <p:sp>
        <p:nvSpPr>
          <p:cNvPr id="4" name="Text Placeholder 3"/>
          <p:cNvSpPr>
            <a:spLocks noGrp="1"/>
          </p:cNvSpPr>
          <p:nvPr>
            <p:ph type="body" sz="quarter" idx="12" hasCustomPrompt="1"/>
          </p:nvPr>
        </p:nvSpPr>
        <p:spPr>
          <a:xfrm>
            <a:off x="587378" y="4344989"/>
            <a:ext cx="7561263" cy="401648"/>
          </a:xfrm>
          <a:prstGeom prst="rect">
            <a:avLst/>
          </a:prstGeom>
        </p:spPr>
        <p:txBody>
          <a:bodyPr lIns="68580" tIns="34290" rIns="68580" bIns="34290">
            <a:spAutoFit/>
          </a:bodyPr>
          <a:lstStyle>
            <a:lvl1pPr>
              <a:defRPr lang="en-US" sz="2400" b="0" i="0" kern="1200" cap="none" baseline="0">
                <a:solidFill>
                  <a:schemeClr val="bg1"/>
                </a:solidFill>
                <a:latin typeface="+mj-lt"/>
                <a:ea typeface="Calibri" charset="0"/>
                <a:cs typeface="Calibri" charset="0"/>
              </a:defRPr>
            </a:lvl1pPr>
            <a:lvl2pPr marL="0" marR="0" indent="0" algn="l" defTabSz="914377" rtl="0" eaLnBrk="1" fontAlgn="auto" latinLnBrk="0" hangingPunct="1">
              <a:lnSpc>
                <a:spcPct val="100000"/>
              </a:lnSpc>
              <a:spcBef>
                <a:spcPct val="0"/>
              </a:spcBef>
              <a:spcAft>
                <a:spcPts val="0"/>
              </a:spcAft>
              <a:buClrTx/>
              <a:buSzTx/>
              <a:buFont typeface="Arial"/>
              <a:buNone/>
              <a:tabLst/>
              <a:defRPr/>
            </a:lvl2pPr>
          </a:lstStyle>
          <a:p>
            <a:pPr lvl="0"/>
            <a:r>
              <a:rPr lang="ru-RU" dirty="0"/>
              <a:t>Дополнительный текст, пояснение, подзаголовок</a:t>
            </a:r>
          </a:p>
        </p:txBody>
      </p:sp>
      <p:sp>
        <p:nvSpPr>
          <p:cNvPr id="6" name="Shape"/>
          <p:cNvSpPr/>
          <p:nvPr userDrawn="1"/>
        </p:nvSpPr>
        <p:spPr>
          <a:xfrm>
            <a:off x="695330" y="692154"/>
            <a:ext cx="1990513" cy="374625"/>
          </a:xfrm>
          <a:custGeom>
            <a:avLst/>
            <a:gdLst/>
            <a:ahLst/>
            <a:cxnLst>
              <a:cxn ang="0">
                <a:pos x="wd2" y="hd2"/>
              </a:cxn>
              <a:cxn ang="5400000">
                <a:pos x="wd2" y="hd2"/>
              </a:cxn>
              <a:cxn ang="10800000">
                <a:pos x="wd2" y="hd2"/>
              </a:cxn>
              <a:cxn ang="16200000">
                <a:pos x="wd2" y="hd2"/>
              </a:cxn>
            </a:cxnLst>
            <a:rect l="0" t="0" r="r" b="b"/>
            <a:pathLst>
              <a:path w="21600" h="21600" extrusionOk="0">
                <a:moveTo>
                  <a:pt x="2936" y="0"/>
                </a:moveTo>
                <a:lnTo>
                  <a:pt x="1286" y="5042"/>
                </a:lnTo>
                <a:lnTo>
                  <a:pt x="551" y="2798"/>
                </a:lnTo>
                <a:cubicBezTo>
                  <a:pt x="499" y="3104"/>
                  <a:pt x="449" y="3428"/>
                  <a:pt x="403" y="3762"/>
                </a:cubicBezTo>
                <a:cubicBezTo>
                  <a:pt x="403" y="3762"/>
                  <a:pt x="1286" y="6458"/>
                  <a:pt x="1286" y="6458"/>
                </a:cubicBezTo>
                <a:lnTo>
                  <a:pt x="3183" y="659"/>
                </a:lnTo>
                <a:cubicBezTo>
                  <a:pt x="3104" y="413"/>
                  <a:pt x="3022" y="191"/>
                  <a:pt x="2936" y="0"/>
                </a:cubicBezTo>
                <a:close/>
                <a:moveTo>
                  <a:pt x="3397" y="1421"/>
                </a:moveTo>
                <a:lnTo>
                  <a:pt x="1286" y="7874"/>
                </a:lnTo>
                <a:lnTo>
                  <a:pt x="277" y="4790"/>
                </a:lnTo>
                <a:cubicBezTo>
                  <a:pt x="239" y="5144"/>
                  <a:pt x="205" y="5514"/>
                  <a:pt x="174" y="5891"/>
                </a:cubicBezTo>
                <a:lnTo>
                  <a:pt x="1286" y="9285"/>
                </a:lnTo>
                <a:cubicBezTo>
                  <a:pt x="1286" y="9285"/>
                  <a:pt x="3583" y="2264"/>
                  <a:pt x="3583" y="2264"/>
                </a:cubicBezTo>
                <a:cubicBezTo>
                  <a:pt x="3524" y="1964"/>
                  <a:pt x="3462" y="1684"/>
                  <a:pt x="3397" y="1421"/>
                </a:cubicBezTo>
                <a:close/>
                <a:moveTo>
                  <a:pt x="6427" y="2793"/>
                </a:moveTo>
                <a:cubicBezTo>
                  <a:pt x="5648" y="2793"/>
                  <a:pt x="5344" y="5127"/>
                  <a:pt x="5344" y="8979"/>
                </a:cubicBezTo>
                <a:cubicBezTo>
                  <a:pt x="5344" y="12999"/>
                  <a:pt x="5724" y="14870"/>
                  <a:pt x="6383" y="14870"/>
                </a:cubicBezTo>
                <a:cubicBezTo>
                  <a:pt x="6662" y="14870"/>
                  <a:pt x="6932" y="14483"/>
                  <a:pt x="7133" y="13799"/>
                </a:cubicBezTo>
                <a:lnTo>
                  <a:pt x="7064" y="13101"/>
                </a:lnTo>
                <a:cubicBezTo>
                  <a:pt x="6932" y="13451"/>
                  <a:pt x="6772" y="13784"/>
                  <a:pt x="6514" y="13784"/>
                </a:cubicBezTo>
                <a:cubicBezTo>
                  <a:pt x="5971" y="13784"/>
                  <a:pt x="5856" y="11550"/>
                  <a:pt x="5856" y="8548"/>
                </a:cubicBezTo>
                <a:cubicBezTo>
                  <a:pt x="5856" y="5396"/>
                  <a:pt x="5975" y="3559"/>
                  <a:pt x="6442" y="3559"/>
                </a:cubicBezTo>
                <a:cubicBezTo>
                  <a:pt x="6741" y="3559"/>
                  <a:pt x="6837" y="4161"/>
                  <a:pt x="6888" y="5028"/>
                </a:cubicBezTo>
                <a:lnTo>
                  <a:pt x="6926" y="5760"/>
                </a:lnTo>
                <a:lnTo>
                  <a:pt x="7066" y="5760"/>
                </a:lnTo>
                <a:cubicBezTo>
                  <a:pt x="7060" y="4976"/>
                  <a:pt x="7060" y="4110"/>
                  <a:pt x="7066" y="3326"/>
                </a:cubicBezTo>
                <a:cubicBezTo>
                  <a:pt x="7004" y="3193"/>
                  <a:pt x="6772" y="2793"/>
                  <a:pt x="6427" y="2793"/>
                </a:cubicBezTo>
                <a:close/>
                <a:moveTo>
                  <a:pt x="7330" y="2992"/>
                </a:moveTo>
                <a:lnTo>
                  <a:pt x="7330" y="3360"/>
                </a:lnTo>
                <a:cubicBezTo>
                  <a:pt x="7440" y="3493"/>
                  <a:pt x="7456" y="3662"/>
                  <a:pt x="7456" y="4296"/>
                </a:cubicBezTo>
                <a:lnTo>
                  <a:pt x="7456" y="13367"/>
                </a:lnTo>
                <a:cubicBezTo>
                  <a:pt x="7456" y="14001"/>
                  <a:pt x="7440" y="14170"/>
                  <a:pt x="7330" y="14303"/>
                </a:cubicBezTo>
                <a:lnTo>
                  <a:pt x="7330" y="14667"/>
                </a:lnTo>
                <a:lnTo>
                  <a:pt x="8210" y="14667"/>
                </a:lnTo>
                <a:cubicBezTo>
                  <a:pt x="8747" y="14667"/>
                  <a:pt x="9079" y="13899"/>
                  <a:pt x="9079" y="10764"/>
                </a:cubicBezTo>
                <a:cubicBezTo>
                  <a:pt x="9079" y="7545"/>
                  <a:pt x="8652" y="7181"/>
                  <a:pt x="8049" y="7181"/>
                </a:cubicBezTo>
                <a:lnTo>
                  <a:pt x="7927" y="7181"/>
                </a:lnTo>
                <a:lnTo>
                  <a:pt x="7927" y="4412"/>
                </a:lnTo>
                <a:cubicBezTo>
                  <a:pt x="7927" y="3912"/>
                  <a:pt x="7946" y="3728"/>
                  <a:pt x="8084" y="3728"/>
                </a:cubicBezTo>
                <a:cubicBezTo>
                  <a:pt x="8084" y="3728"/>
                  <a:pt x="8385" y="3728"/>
                  <a:pt x="8385" y="3728"/>
                </a:cubicBezTo>
                <a:cubicBezTo>
                  <a:pt x="8671" y="3728"/>
                  <a:pt x="8749" y="3842"/>
                  <a:pt x="8818" y="5042"/>
                </a:cubicBezTo>
                <a:lnTo>
                  <a:pt x="8847" y="5527"/>
                </a:lnTo>
                <a:lnTo>
                  <a:pt x="8966" y="5527"/>
                </a:lnTo>
                <a:cubicBezTo>
                  <a:pt x="8960" y="4677"/>
                  <a:pt x="8960" y="3842"/>
                  <a:pt x="8966" y="2992"/>
                </a:cubicBezTo>
                <a:lnTo>
                  <a:pt x="7330" y="2992"/>
                </a:lnTo>
                <a:close/>
                <a:moveTo>
                  <a:pt x="9327" y="2992"/>
                </a:moveTo>
                <a:lnTo>
                  <a:pt x="9327" y="3360"/>
                </a:lnTo>
                <a:cubicBezTo>
                  <a:pt x="9437" y="3493"/>
                  <a:pt x="9453" y="3662"/>
                  <a:pt x="9453" y="4296"/>
                </a:cubicBezTo>
                <a:lnTo>
                  <a:pt x="9453" y="13367"/>
                </a:lnTo>
                <a:cubicBezTo>
                  <a:pt x="9453" y="14001"/>
                  <a:pt x="9437" y="14170"/>
                  <a:pt x="9327" y="14303"/>
                </a:cubicBezTo>
                <a:lnTo>
                  <a:pt x="9327" y="14667"/>
                </a:lnTo>
                <a:lnTo>
                  <a:pt x="10909" y="14667"/>
                </a:lnTo>
                <a:cubicBezTo>
                  <a:pt x="10903" y="13766"/>
                  <a:pt x="10903" y="12852"/>
                  <a:pt x="10909" y="11952"/>
                </a:cubicBezTo>
                <a:lnTo>
                  <a:pt x="10771" y="11952"/>
                </a:lnTo>
                <a:lnTo>
                  <a:pt x="10752" y="12383"/>
                </a:lnTo>
                <a:cubicBezTo>
                  <a:pt x="10689" y="13834"/>
                  <a:pt x="10614" y="13935"/>
                  <a:pt x="10329" y="13935"/>
                </a:cubicBezTo>
                <a:lnTo>
                  <a:pt x="10266" y="13935"/>
                </a:lnTo>
                <a:cubicBezTo>
                  <a:pt x="9977" y="13935"/>
                  <a:pt x="9924" y="13699"/>
                  <a:pt x="9924" y="12999"/>
                </a:cubicBezTo>
                <a:lnTo>
                  <a:pt x="9924" y="8645"/>
                </a:lnTo>
                <a:lnTo>
                  <a:pt x="10216" y="8645"/>
                </a:lnTo>
                <a:cubicBezTo>
                  <a:pt x="10338" y="8645"/>
                  <a:pt x="10529" y="8715"/>
                  <a:pt x="10604" y="8999"/>
                </a:cubicBezTo>
                <a:lnTo>
                  <a:pt x="10604" y="7530"/>
                </a:lnTo>
                <a:cubicBezTo>
                  <a:pt x="10529" y="7813"/>
                  <a:pt x="10338" y="7879"/>
                  <a:pt x="10216" y="7879"/>
                </a:cubicBezTo>
                <a:lnTo>
                  <a:pt x="9924" y="7879"/>
                </a:lnTo>
                <a:lnTo>
                  <a:pt x="9924" y="4262"/>
                </a:lnTo>
                <a:cubicBezTo>
                  <a:pt x="9924" y="3862"/>
                  <a:pt x="9939" y="3728"/>
                  <a:pt x="10033" y="3728"/>
                </a:cubicBezTo>
                <a:cubicBezTo>
                  <a:pt x="10033" y="3728"/>
                  <a:pt x="10279" y="3728"/>
                  <a:pt x="10279" y="3728"/>
                </a:cubicBezTo>
                <a:cubicBezTo>
                  <a:pt x="10564" y="3728"/>
                  <a:pt x="10642" y="3842"/>
                  <a:pt x="10711" y="5042"/>
                </a:cubicBezTo>
                <a:lnTo>
                  <a:pt x="10739" y="5527"/>
                </a:lnTo>
                <a:lnTo>
                  <a:pt x="10859" y="5527"/>
                </a:lnTo>
                <a:cubicBezTo>
                  <a:pt x="10853" y="4677"/>
                  <a:pt x="10853" y="3842"/>
                  <a:pt x="10859" y="2992"/>
                </a:cubicBezTo>
                <a:lnTo>
                  <a:pt x="9327" y="2992"/>
                </a:lnTo>
                <a:close/>
                <a:moveTo>
                  <a:pt x="11192" y="2992"/>
                </a:moveTo>
                <a:lnTo>
                  <a:pt x="11192" y="3360"/>
                </a:lnTo>
                <a:cubicBezTo>
                  <a:pt x="11302" y="3493"/>
                  <a:pt x="11317" y="3662"/>
                  <a:pt x="11317" y="4296"/>
                </a:cubicBezTo>
                <a:lnTo>
                  <a:pt x="11317" y="13367"/>
                </a:lnTo>
                <a:cubicBezTo>
                  <a:pt x="11317" y="14001"/>
                  <a:pt x="11302" y="14170"/>
                  <a:pt x="11192" y="14303"/>
                </a:cubicBezTo>
                <a:lnTo>
                  <a:pt x="11192" y="14667"/>
                </a:lnTo>
                <a:cubicBezTo>
                  <a:pt x="11192" y="14667"/>
                  <a:pt x="11914" y="14667"/>
                  <a:pt x="11914" y="14667"/>
                </a:cubicBezTo>
                <a:lnTo>
                  <a:pt x="11914" y="14303"/>
                </a:lnTo>
                <a:cubicBezTo>
                  <a:pt x="11804" y="14170"/>
                  <a:pt x="11788" y="14001"/>
                  <a:pt x="11788" y="13367"/>
                </a:cubicBezTo>
                <a:lnTo>
                  <a:pt x="11788" y="10046"/>
                </a:lnTo>
                <a:lnTo>
                  <a:pt x="12008" y="10046"/>
                </a:lnTo>
                <a:cubicBezTo>
                  <a:pt x="12538" y="10046"/>
                  <a:pt x="12865" y="9199"/>
                  <a:pt x="12865" y="6347"/>
                </a:cubicBezTo>
                <a:cubicBezTo>
                  <a:pt x="12865" y="3545"/>
                  <a:pt x="12538" y="2992"/>
                  <a:pt x="12102" y="2992"/>
                </a:cubicBezTo>
                <a:lnTo>
                  <a:pt x="11192" y="2992"/>
                </a:lnTo>
                <a:close/>
                <a:moveTo>
                  <a:pt x="13063" y="2992"/>
                </a:moveTo>
                <a:lnTo>
                  <a:pt x="13063" y="3360"/>
                </a:lnTo>
                <a:cubicBezTo>
                  <a:pt x="13172" y="3493"/>
                  <a:pt x="13188" y="3662"/>
                  <a:pt x="13188" y="4296"/>
                </a:cubicBezTo>
                <a:lnTo>
                  <a:pt x="13188" y="13367"/>
                </a:lnTo>
                <a:cubicBezTo>
                  <a:pt x="13188" y="14001"/>
                  <a:pt x="13172" y="14170"/>
                  <a:pt x="13063" y="14303"/>
                </a:cubicBezTo>
                <a:lnTo>
                  <a:pt x="13063" y="14667"/>
                </a:lnTo>
                <a:lnTo>
                  <a:pt x="13941" y="14667"/>
                </a:lnTo>
                <a:cubicBezTo>
                  <a:pt x="14478" y="14667"/>
                  <a:pt x="14811" y="13899"/>
                  <a:pt x="14811" y="10764"/>
                </a:cubicBezTo>
                <a:cubicBezTo>
                  <a:pt x="14811" y="7545"/>
                  <a:pt x="14384" y="7181"/>
                  <a:pt x="13782" y="7181"/>
                </a:cubicBezTo>
                <a:lnTo>
                  <a:pt x="13658" y="7181"/>
                </a:lnTo>
                <a:lnTo>
                  <a:pt x="13658" y="4412"/>
                </a:lnTo>
                <a:cubicBezTo>
                  <a:pt x="13658" y="3912"/>
                  <a:pt x="13677" y="3728"/>
                  <a:pt x="13815" y="3728"/>
                </a:cubicBezTo>
                <a:cubicBezTo>
                  <a:pt x="13815" y="3728"/>
                  <a:pt x="14117" y="3728"/>
                  <a:pt x="14117" y="3728"/>
                </a:cubicBezTo>
                <a:cubicBezTo>
                  <a:pt x="14403" y="3728"/>
                  <a:pt x="14481" y="3842"/>
                  <a:pt x="14550" y="5042"/>
                </a:cubicBezTo>
                <a:lnTo>
                  <a:pt x="14578" y="5527"/>
                </a:lnTo>
                <a:lnTo>
                  <a:pt x="14698" y="5527"/>
                </a:lnTo>
                <a:cubicBezTo>
                  <a:pt x="14692" y="4677"/>
                  <a:pt x="14692" y="3842"/>
                  <a:pt x="14698" y="2992"/>
                </a:cubicBezTo>
                <a:lnTo>
                  <a:pt x="13063" y="2992"/>
                </a:lnTo>
                <a:close/>
                <a:moveTo>
                  <a:pt x="15564" y="2992"/>
                </a:moveTo>
                <a:lnTo>
                  <a:pt x="15564" y="3360"/>
                </a:lnTo>
                <a:cubicBezTo>
                  <a:pt x="15677" y="3493"/>
                  <a:pt x="15690" y="3810"/>
                  <a:pt x="15690" y="4044"/>
                </a:cubicBezTo>
                <a:cubicBezTo>
                  <a:pt x="15690" y="4377"/>
                  <a:pt x="15674" y="4746"/>
                  <a:pt x="15583" y="5930"/>
                </a:cubicBezTo>
                <a:lnTo>
                  <a:pt x="15178" y="11234"/>
                </a:lnTo>
                <a:cubicBezTo>
                  <a:pt x="15027" y="13185"/>
                  <a:pt x="14927" y="14216"/>
                  <a:pt x="14874" y="14667"/>
                </a:cubicBezTo>
                <a:lnTo>
                  <a:pt x="15273" y="14667"/>
                </a:lnTo>
                <a:cubicBezTo>
                  <a:pt x="15276" y="14400"/>
                  <a:pt x="15294" y="13898"/>
                  <a:pt x="15319" y="13232"/>
                </a:cubicBezTo>
                <a:cubicBezTo>
                  <a:pt x="15347" y="12564"/>
                  <a:pt x="15401" y="11616"/>
                  <a:pt x="15473" y="10448"/>
                </a:cubicBezTo>
                <a:lnTo>
                  <a:pt x="16170" y="10448"/>
                </a:lnTo>
                <a:lnTo>
                  <a:pt x="16265" y="11932"/>
                </a:lnTo>
                <a:cubicBezTo>
                  <a:pt x="16324" y="12866"/>
                  <a:pt x="16393" y="14033"/>
                  <a:pt x="16411" y="14667"/>
                </a:cubicBezTo>
                <a:cubicBezTo>
                  <a:pt x="16411" y="14667"/>
                  <a:pt x="16971" y="14667"/>
                  <a:pt x="16971" y="14667"/>
                </a:cubicBezTo>
                <a:cubicBezTo>
                  <a:pt x="16924" y="14250"/>
                  <a:pt x="16826" y="13082"/>
                  <a:pt x="16735" y="11714"/>
                </a:cubicBezTo>
                <a:lnTo>
                  <a:pt x="16274" y="4727"/>
                </a:lnTo>
                <a:cubicBezTo>
                  <a:pt x="16208" y="3743"/>
                  <a:pt x="16201" y="3342"/>
                  <a:pt x="16192" y="2992"/>
                </a:cubicBezTo>
                <a:lnTo>
                  <a:pt x="15564" y="2992"/>
                </a:lnTo>
                <a:close/>
                <a:moveTo>
                  <a:pt x="17140" y="2992"/>
                </a:moveTo>
                <a:lnTo>
                  <a:pt x="17140" y="3360"/>
                </a:lnTo>
                <a:cubicBezTo>
                  <a:pt x="17250" y="3493"/>
                  <a:pt x="17266" y="3662"/>
                  <a:pt x="17266" y="4296"/>
                </a:cubicBezTo>
                <a:lnTo>
                  <a:pt x="17266" y="13367"/>
                </a:lnTo>
                <a:cubicBezTo>
                  <a:pt x="17266" y="14001"/>
                  <a:pt x="17250" y="14170"/>
                  <a:pt x="17140" y="14303"/>
                </a:cubicBezTo>
                <a:lnTo>
                  <a:pt x="17140" y="14667"/>
                </a:lnTo>
                <a:lnTo>
                  <a:pt x="17861" y="14667"/>
                </a:lnTo>
                <a:lnTo>
                  <a:pt x="17861" y="14303"/>
                </a:lnTo>
                <a:cubicBezTo>
                  <a:pt x="17752" y="14170"/>
                  <a:pt x="17736" y="14001"/>
                  <a:pt x="17736" y="13367"/>
                </a:cubicBezTo>
                <a:lnTo>
                  <a:pt x="17736" y="8645"/>
                </a:lnTo>
                <a:lnTo>
                  <a:pt x="18584" y="8645"/>
                </a:lnTo>
                <a:cubicBezTo>
                  <a:pt x="18584" y="8645"/>
                  <a:pt x="18584" y="13367"/>
                  <a:pt x="18584" y="13367"/>
                </a:cubicBezTo>
                <a:cubicBezTo>
                  <a:pt x="18584" y="14001"/>
                  <a:pt x="18568" y="14170"/>
                  <a:pt x="18458" y="14303"/>
                </a:cubicBezTo>
                <a:lnTo>
                  <a:pt x="18458" y="14667"/>
                </a:lnTo>
                <a:lnTo>
                  <a:pt x="19180" y="14667"/>
                </a:lnTo>
                <a:lnTo>
                  <a:pt x="19180" y="14303"/>
                </a:lnTo>
                <a:cubicBezTo>
                  <a:pt x="19070" y="14170"/>
                  <a:pt x="19055" y="14001"/>
                  <a:pt x="19055" y="13367"/>
                </a:cubicBezTo>
                <a:lnTo>
                  <a:pt x="19055" y="4296"/>
                </a:lnTo>
                <a:cubicBezTo>
                  <a:pt x="19055" y="3662"/>
                  <a:pt x="19070" y="3493"/>
                  <a:pt x="19180" y="3360"/>
                </a:cubicBezTo>
                <a:lnTo>
                  <a:pt x="19180" y="2992"/>
                </a:lnTo>
                <a:lnTo>
                  <a:pt x="18458" y="2992"/>
                </a:lnTo>
                <a:lnTo>
                  <a:pt x="18458" y="3360"/>
                </a:lnTo>
                <a:cubicBezTo>
                  <a:pt x="18568" y="3493"/>
                  <a:pt x="18584" y="3662"/>
                  <a:pt x="18584" y="4296"/>
                </a:cubicBezTo>
                <a:lnTo>
                  <a:pt x="18584" y="7879"/>
                </a:lnTo>
                <a:lnTo>
                  <a:pt x="17736" y="7879"/>
                </a:lnTo>
                <a:lnTo>
                  <a:pt x="17736" y="4296"/>
                </a:lnTo>
                <a:cubicBezTo>
                  <a:pt x="17736" y="3662"/>
                  <a:pt x="17752" y="3493"/>
                  <a:pt x="17861" y="3360"/>
                </a:cubicBezTo>
                <a:lnTo>
                  <a:pt x="17861" y="2992"/>
                </a:lnTo>
                <a:lnTo>
                  <a:pt x="17140" y="2992"/>
                </a:lnTo>
                <a:close/>
                <a:moveTo>
                  <a:pt x="19529" y="2992"/>
                </a:moveTo>
                <a:lnTo>
                  <a:pt x="19529" y="3360"/>
                </a:lnTo>
                <a:cubicBezTo>
                  <a:pt x="19638" y="3493"/>
                  <a:pt x="19655" y="3662"/>
                  <a:pt x="19655" y="4296"/>
                </a:cubicBezTo>
                <a:cubicBezTo>
                  <a:pt x="19655" y="4296"/>
                  <a:pt x="19655" y="13367"/>
                  <a:pt x="19655" y="13367"/>
                </a:cubicBezTo>
                <a:cubicBezTo>
                  <a:pt x="19655" y="14001"/>
                  <a:pt x="19638" y="14170"/>
                  <a:pt x="19529" y="14303"/>
                </a:cubicBezTo>
                <a:lnTo>
                  <a:pt x="19529" y="14667"/>
                </a:lnTo>
                <a:lnTo>
                  <a:pt x="20250" y="14667"/>
                </a:lnTo>
                <a:lnTo>
                  <a:pt x="20250" y="14303"/>
                </a:lnTo>
                <a:cubicBezTo>
                  <a:pt x="20141" y="14170"/>
                  <a:pt x="20125" y="14001"/>
                  <a:pt x="20125" y="13367"/>
                </a:cubicBezTo>
                <a:lnTo>
                  <a:pt x="20125" y="4296"/>
                </a:lnTo>
                <a:cubicBezTo>
                  <a:pt x="20125" y="3662"/>
                  <a:pt x="20141" y="3493"/>
                  <a:pt x="20250" y="3360"/>
                </a:cubicBezTo>
                <a:lnTo>
                  <a:pt x="20250" y="2992"/>
                </a:lnTo>
                <a:lnTo>
                  <a:pt x="19529" y="2992"/>
                </a:lnTo>
                <a:close/>
                <a:moveTo>
                  <a:pt x="20906" y="2992"/>
                </a:moveTo>
                <a:cubicBezTo>
                  <a:pt x="20847" y="3792"/>
                  <a:pt x="20624" y="5376"/>
                  <a:pt x="20451" y="6560"/>
                </a:cubicBezTo>
                <a:lnTo>
                  <a:pt x="20163" y="8548"/>
                </a:lnTo>
                <a:lnTo>
                  <a:pt x="20496" y="11200"/>
                </a:lnTo>
                <a:cubicBezTo>
                  <a:pt x="20725" y="13035"/>
                  <a:pt x="20803" y="14050"/>
                  <a:pt x="20856" y="14667"/>
                </a:cubicBezTo>
                <a:lnTo>
                  <a:pt x="21595" y="14667"/>
                </a:lnTo>
                <a:cubicBezTo>
                  <a:pt x="21334" y="13266"/>
                  <a:pt x="20975" y="10698"/>
                  <a:pt x="20822" y="9547"/>
                </a:cubicBezTo>
                <a:cubicBezTo>
                  <a:pt x="20822" y="9547"/>
                  <a:pt x="20536" y="7394"/>
                  <a:pt x="20536" y="7394"/>
                </a:cubicBezTo>
                <a:lnTo>
                  <a:pt x="20765" y="6095"/>
                </a:lnTo>
                <a:cubicBezTo>
                  <a:pt x="20866" y="5511"/>
                  <a:pt x="21214" y="3645"/>
                  <a:pt x="21421" y="3011"/>
                </a:cubicBezTo>
                <a:lnTo>
                  <a:pt x="21421" y="2992"/>
                </a:lnTo>
                <a:lnTo>
                  <a:pt x="20906" y="2992"/>
                </a:lnTo>
                <a:close/>
                <a:moveTo>
                  <a:pt x="3744" y="3185"/>
                </a:moveTo>
                <a:cubicBezTo>
                  <a:pt x="3744" y="3185"/>
                  <a:pt x="1286" y="10701"/>
                  <a:pt x="1286" y="10701"/>
                </a:cubicBezTo>
                <a:lnTo>
                  <a:pt x="93" y="7055"/>
                </a:lnTo>
                <a:cubicBezTo>
                  <a:pt x="70" y="7458"/>
                  <a:pt x="50" y="7874"/>
                  <a:pt x="36" y="8296"/>
                </a:cubicBezTo>
                <a:lnTo>
                  <a:pt x="1286" y="12112"/>
                </a:lnTo>
                <a:lnTo>
                  <a:pt x="3882" y="4179"/>
                </a:lnTo>
                <a:cubicBezTo>
                  <a:pt x="3839" y="3835"/>
                  <a:pt x="3793" y="3502"/>
                  <a:pt x="3744" y="3185"/>
                </a:cubicBezTo>
                <a:close/>
                <a:moveTo>
                  <a:pt x="11926" y="3728"/>
                </a:moveTo>
                <a:lnTo>
                  <a:pt x="11977" y="3728"/>
                </a:lnTo>
                <a:cubicBezTo>
                  <a:pt x="12272" y="3728"/>
                  <a:pt x="12372" y="4710"/>
                  <a:pt x="12372" y="6245"/>
                </a:cubicBezTo>
                <a:cubicBezTo>
                  <a:pt x="12372" y="8063"/>
                  <a:pt x="12302" y="9314"/>
                  <a:pt x="12010" y="9314"/>
                </a:cubicBezTo>
                <a:cubicBezTo>
                  <a:pt x="12010" y="9314"/>
                  <a:pt x="11788" y="9314"/>
                  <a:pt x="11788" y="9314"/>
                </a:cubicBezTo>
                <a:lnTo>
                  <a:pt x="11788" y="4359"/>
                </a:lnTo>
                <a:cubicBezTo>
                  <a:pt x="11788" y="3808"/>
                  <a:pt x="11832" y="3728"/>
                  <a:pt x="11926" y="3728"/>
                </a:cubicBezTo>
                <a:close/>
                <a:moveTo>
                  <a:pt x="15827" y="4960"/>
                </a:moveTo>
                <a:lnTo>
                  <a:pt x="16123" y="9663"/>
                </a:lnTo>
                <a:cubicBezTo>
                  <a:pt x="16123" y="9663"/>
                  <a:pt x="15524" y="9663"/>
                  <a:pt x="15524" y="9663"/>
                </a:cubicBezTo>
                <a:lnTo>
                  <a:pt x="15827" y="4960"/>
                </a:lnTo>
                <a:close/>
                <a:moveTo>
                  <a:pt x="3999" y="5236"/>
                </a:moveTo>
                <a:lnTo>
                  <a:pt x="1286" y="13527"/>
                </a:lnTo>
                <a:lnTo>
                  <a:pt x="5" y="9615"/>
                </a:lnTo>
                <a:cubicBezTo>
                  <a:pt x="1" y="9862"/>
                  <a:pt x="0" y="10108"/>
                  <a:pt x="0" y="10361"/>
                </a:cubicBezTo>
                <a:cubicBezTo>
                  <a:pt x="0" y="16568"/>
                  <a:pt x="947" y="21600"/>
                  <a:pt x="2115" y="21600"/>
                </a:cubicBezTo>
                <a:cubicBezTo>
                  <a:pt x="3283" y="21600"/>
                  <a:pt x="4230" y="16568"/>
                  <a:pt x="4230" y="10361"/>
                </a:cubicBezTo>
                <a:cubicBezTo>
                  <a:pt x="4230" y="8514"/>
                  <a:pt x="4147" y="6773"/>
                  <a:pt x="3999" y="5236"/>
                </a:cubicBezTo>
                <a:close/>
                <a:moveTo>
                  <a:pt x="7927" y="7913"/>
                </a:moveTo>
                <a:lnTo>
                  <a:pt x="8119" y="7913"/>
                </a:lnTo>
                <a:cubicBezTo>
                  <a:pt x="8489" y="7913"/>
                  <a:pt x="8586" y="8979"/>
                  <a:pt x="8586" y="10880"/>
                </a:cubicBezTo>
                <a:cubicBezTo>
                  <a:pt x="8586" y="12915"/>
                  <a:pt x="8474" y="13935"/>
                  <a:pt x="8188" y="13935"/>
                </a:cubicBezTo>
                <a:cubicBezTo>
                  <a:pt x="8188" y="13935"/>
                  <a:pt x="8121" y="13935"/>
                  <a:pt x="8121" y="13935"/>
                </a:cubicBezTo>
                <a:cubicBezTo>
                  <a:pt x="7964" y="13935"/>
                  <a:pt x="7927" y="13667"/>
                  <a:pt x="7927" y="12916"/>
                </a:cubicBezTo>
                <a:lnTo>
                  <a:pt x="7927" y="7913"/>
                </a:lnTo>
                <a:close/>
                <a:moveTo>
                  <a:pt x="13658" y="7913"/>
                </a:moveTo>
                <a:lnTo>
                  <a:pt x="13850" y="7913"/>
                </a:lnTo>
                <a:cubicBezTo>
                  <a:pt x="14220" y="7913"/>
                  <a:pt x="14318" y="8979"/>
                  <a:pt x="14318" y="10880"/>
                </a:cubicBezTo>
                <a:cubicBezTo>
                  <a:pt x="14318" y="12915"/>
                  <a:pt x="14205" y="13935"/>
                  <a:pt x="13919" y="13935"/>
                </a:cubicBezTo>
                <a:cubicBezTo>
                  <a:pt x="13919" y="13935"/>
                  <a:pt x="13854" y="13935"/>
                  <a:pt x="13854" y="13935"/>
                </a:cubicBezTo>
                <a:cubicBezTo>
                  <a:pt x="13697" y="13935"/>
                  <a:pt x="13658" y="13667"/>
                  <a:pt x="13658" y="12916"/>
                </a:cubicBezTo>
                <a:lnTo>
                  <a:pt x="13658" y="7913"/>
                </a:lnTo>
                <a:close/>
                <a:moveTo>
                  <a:pt x="5519" y="17532"/>
                </a:moveTo>
                <a:lnTo>
                  <a:pt x="5519" y="18701"/>
                </a:lnTo>
                <a:lnTo>
                  <a:pt x="21600" y="18701"/>
                </a:lnTo>
                <a:cubicBezTo>
                  <a:pt x="21600" y="18701"/>
                  <a:pt x="21600" y="17532"/>
                  <a:pt x="21600" y="17532"/>
                </a:cubicBezTo>
                <a:lnTo>
                  <a:pt x="5519" y="17532"/>
                </a:lnTo>
                <a:close/>
              </a:path>
            </a:pathLst>
          </a:custGeom>
          <a:solidFill>
            <a:schemeClr val="bg1"/>
          </a:solidFill>
          <a:ln w="12700">
            <a:miter lim="400000"/>
          </a:ln>
        </p:spPr>
        <p:txBody>
          <a:bodyPr lIns="38100" tIns="38100" rIns="38100" bIns="38100" anchor="ctr"/>
          <a:lstStyle/>
          <a:p>
            <a:pPr defTabSz="914377">
              <a:defRPr sz="3000">
                <a:solidFill>
                  <a:srgbClr val="FFFFFF"/>
                </a:solidFill>
                <a:effectLst>
                  <a:outerShdw blurRad="38100" dist="12700" dir="5400000" rotWithShape="0">
                    <a:srgbClr val="000000">
                      <a:alpha val="50000"/>
                    </a:srgbClr>
                  </a:outerShdw>
                </a:effectLst>
              </a:defRPr>
            </a:pPr>
            <a:endParaRPr sz="4000" dirty="0">
              <a:solidFill>
                <a:srgbClr val="FFFFFF"/>
              </a:solidFill>
              <a:effectLst>
                <a:outerShdw blurRad="38100" dist="12700" dir="5400000" rotWithShape="0">
                  <a:srgbClr val="000000">
                    <a:alpha val="50000"/>
                  </a:srgbClr>
                </a:outerShdw>
              </a:effectLst>
            </a:endParaRPr>
          </a:p>
        </p:txBody>
      </p:sp>
    </p:spTree>
    <p:extLst>
      <p:ext uri="{BB962C8B-B14F-4D97-AF65-F5344CB8AC3E}">
        <p14:creationId xmlns:p14="http://schemas.microsoft.com/office/powerpoint/2010/main" val="151451052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Титул с картинкой под градиентом">
    <p:spTree>
      <p:nvGrpSpPr>
        <p:cNvPr id="1" name=""/>
        <p:cNvGrpSpPr/>
        <p:nvPr/>
      </p:nvGrpSpPr>
      <p:grpSpPr>
        <a:xfrm>
          <a:off x="0" y="0"/>
          <a:ext cx="0" cy="0"/>
          <a:chOff x="0" y="0"/>
          <a:chExt cx="0" cy="0"/>
        </a:xfrm>
      </p:grpSpPr>
      <p:sp>
        <p:nvSpPr>
          <p:cNvPr id="5" name="Rectangle 4"/>
          <p:cNvSpPr/>
          <p:nvPr userDrawn="1"/>
        </p:nvSpPr>
        <p:spPr>
          <a:xfrm rot="10800000">
            <a:off x="-5245" y="0"/>
            <a:ext cx="12197249" cy="6858000"/>
          </a:xfrm>
          <a:prstGeom prst="rect">
            <a:avLst/>
          </a:prstGeom>
          <a:gradFill flip="none" rotWithShape="1">
            <a:gsLst>
              <a:gs pos="6000">
                <a:schemeClr val="accent2">
                  <a:alpha val="70000"/>
                </a:schemeClr>
              </a:gs>
              <a:gs pos="95000">
                <a:schemeClr val="accent6"/>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914377"/>
            <a:endParaRPr lang="en-US" sz="1867" dirty="0">
              <a:solidFill>
                <a:srgbClr val="FFFFFF"/>
              </a:solidFill>
            </a:endParaRPr>
          </a:p>
        </p:txBody>
      </p:sp>
      <p:sp>
        <p:nvSpPr>
          <p:cNvPr id="33" name="Title 9"/>
          <p:cNvSpPr>
            <a:spLocks noGrp="1"/>
          </p:cNvSpPr>
          <p:nvPr>
            <p:ph type="title" hasCustomPrompt="1"/>
          </p:nvPr>
        </p:nvSpPr>
        <p:spPr>
          <a:xfrm>
            <a:off x="587378" y="2097092"/>
            <a:ext cx="10188575" cy="701731"/>
          </a:xfrm>
          <a:prstGeom prst="rect">
            <a:avLst/>
          </a:prstGeom>
        </p:spPr>
        <p:txBody>
          <a:bodyPr lIns="68580" tIns="34290" rIns="68580" bIns="34290" anchor="t" anchorCtr="0">
            <a:spAutoFit/>
          </a:bodyPr>
          <a:lstStyle>
            <a:lvl1pPr>
              <a:lnSpc>
                <a:spcPct val="90000"/>
              </a:lnSpc>
              <a:defRPr sz="4400" b="0" i="0" cap="none" baseline="0">
                <a:solidFill>
                  <a:schemeClr val="bg1"/>
                </a:solidFill>
                <a:latin typeface="+mj-lt"/>
                <a:ea typeface="Calibri Light" charset="0"/>
                <a:cs typeface="Calibri Light" charset="0"/>
              </a:defRPr>
            </a:lvl1pPr>
          </a:lstStyle>
          <a:p>
            <a:r>
              <a:rPr lang="ru-RU"/>
              <a:t>Название презентации</a:t>
            </a:r>
            <a:endParaRPr lang="en-US"/>
          </a:p>
        </p:txBody>
      </p:sp>
      <p:sp>
        <p:nvSpPr>
          <p:cNvPr id="4" name="Text Placeholder 3"/>
          <p:cNvSpPr>
            <a:spLocks noGrp="1"/>
          </p:cNvSpPr>
          <p:nvPr>
            <p:ph type="body" sz="quarter" idx="12" hasCustomPrompt="1"/>
          </p:nvPr>
        </p:nvSpPr>
        <p:spPr>
          <a:xfrm>
            <a:off x="587376" y="4344989"/>
            <a:ext cx="7561261" cy="401648"/>
          </a:xfrm>
          <a:prstGeom prst="rect">
            <a:avLst/>
          </a:prstGeom>
        </p:spPr>
        <p:txBody>
          <a:bodyPr lIns="68580" tIns="34290" rIns="68580" bIns="34290">
            <a:spAutoFit/>
          </a:bodyPr>
          <a:lstStyle>
            <a:lvl1pPr>
              <a:defRPr lang="en-US" sz="2400" b="0" i="0" kern="1200" cap="none" baseline="0">
                <a:solidFill>
                  <a:schemeClr val="bg1"/>
                </a:solidFill>
                <a:latin typeface="+mj-lt"/>
                <a:ea typeface="Calibri" charset="0"/>
                <a:cs typeface="Calibri" charset="0"/>
              </a:defRPr>
            </a:lvl1pPr>
            <a:lvl2pPr marL="0" marR="0" indent="0" algn="l" defTabSz="914377" rtl="0" eaLnBrk="1" fontAlgn="auto" latinLnBrk="0" hangingPunct="1">
              <a:lnSpc>
                <a:spcPct val="100000"/>
              </a:lnSpc>
              <a:spcBef>
                <a:spcPct val="0"/>
              </a:spcBef>
              <a:spcAft>
                <a:spcPts val="0"/>
              </a:spcAft>
              <a:buClrTx/>
              <a:buSzTx/>
              <a:buFont typeface="Arial"/>
              <a:buNone/>
              <a:tabLst/>
              <a:defRPr/>
            </a:lvl2pPr>
          </a:lstStyle>
          <a:p>
            <a:pPr lvl="0"/>
            <a:r>
              <a:rPr lang="ru-RU" dirty="0"/>
              <a:t>Дополнительный текст, пояснение, подзаголовок</a:t>
            </a:r>
          </a:p>
        </p:txBody>
      </p:sp>
      <p:sp>
        <p:nvSpPr>
          <p:cNvPr id="7" name="Shape"/>
          <p:cNvSpPr/>
          <p:nvPr userDrawn="1"/>
        </p:nvSpPr>
        <p:spPr>
          <a:xfrm>
            <a:off x="695330" y="692154"/>
            <a:ext cx="1990513" cy="374625"/>
          </a:xfrm>
          <a:custGeom>
            <a:avLst/>
            <a:gdLst/>
            <a:ahLst/>
            <a:cxnLst>
              <a:cxn ang="0">
                <a:pos x="wd2" y="hd2"/>
              </a:cxn>
              <a:cxn ang="5400000">
                <a:pos x="wd2" y="hd2"/>
              </a:cxn>
              <a:cxn ang="10800000">
                <a:pos x="wd2" y="hd2"/>
              </a:cxn>
              <a:cxn ang="16200000">
                <a:pos x="wd2" y="hd2"/>
              </a:cxn>
            </a:cxnLst>
            <a:rect l="0" t="0" r="r" b="b"/>
            <a:pathLst>
              <a:path w="21600" h="21600" extrusionOk="0">
                <a:moveTo>
                  <a:pt x="2936" y="0"/>
                </a:moveTo>
                <a:lnTo>
                  <a:pt x="1286" y="5042"/>
                </a:lnTo>
                <a:lnTo>
                  <a:pt x="551" y="2798"/>
                </a:lnTo>
                <a:cubicBezTo>
                  <a:pt x="499" y="3104"/>
                  <a:pt x="449" y="3428"/>
                  <a:pt x="403" y="3762"/>
                </a:cubicBezTo>
                <a:cubicBezTo>
                  <a:pt x="403" y="3762"/>
                  <a:pt x="1286" y="6458"/>
                  <a:pt x="1286" y="6458"/>
                </a:cubicBezTo>
                <a:lnTo>
                  <a:pt x="3183" y="659"/>
                </a:lnTo>
                <a:cubicBezTo>
                  <a:pt x="3104" y="413"/>
                  <a:pt x="3022" y="191"/>
                  <a:pt x="2936" y="0"/>
                </a:cubicBezTo>
                <a:close/>
                <a:moveTo>
                  <a:pt x="3397" y="1421"/>
                </a:moveTo>
                <a:lnTo>
                  <a:pt x="1286" y="7874"/>
                </a:lnTo>
                <a:lnTo>
                  <a:pt x="277" y="4790"/>
                </a:lnTo>
                <a:cubicBezTo>
                  <a:pt x="239" y="5144"/>
                  <a:pt x="205" y="5514"/>
                  <a:pt x="174" y="5891"/>
                </a:cubicBezTo>
                <a:lnTo>
                  <a:pt x="1286" y="9285"/>
                </a:lnTo>
                <a:cubicBezTo>
                  <a:pt x="1286" y="9285"/>
                  <a:pt x="3583" y="2264"/>
                  <a:pt x="3583" y="2264"/>
                </a:cubicBezTo>
                <a:cubicBezTo>
                  <a:pt x="3524" y="1964"/>
                  <a:pt x="3462" y="1684"/>
                  <a:pt x="3397" y="1421"/>
                </a:cubicBezTo>
                <a:close/>
                <a:moveTo>
                  <a:pt x="6427" y="2793"/>
                </a:moveTo>
                <a:cubicBezTo>
                  <a:pt x="5648" y="2793"/>
                  <a:pt x="5344" y="5127"/>
                  <a:pt x="5344" y="8979"/>
                </a:cubicBezTo>
                <a:cubicBezTo>
                  <a:pt x="5344" y="12999"/>
                  <a:pt x="5724" y="14870"/>
                  <a:pt x="6383" y="14870"/>
                </a:cubicBezTo>
                <a:cubicBezTo>
                  <a:pt x="6662" y="14870"/>
                  <a:pt x="6932" y="14483"/>
                  <a:pt x="7133" y="13799"/>
                </a:cubicBezTo>
                <a:lnTo>
                  <a:pt x="7064" y="13101"/>
                </a:lnTo>
                <a:cubicBezTo>
                  <a:pt x="6932" y="13451"/>
                  <a:pt x="6772" y="13784"/>
                  <a:pt x="6514" y="13784"/>
                </a:cubicBezTo>
                <a:cubicBezTo>
                  <a:pt x="5971" y="13784"/>
                  <a:pt x="5856" y="11550"/>
                  <a:pt x="5856" y="8548"/>
                </a:cubicBezTo>
                <a:cubicBezTo>
                  <a:pt x="5856" y="5396"/>
                  <a:pt x="5975" y="3559"/>
                  <a:pt x="6442" y="3559"/>
                </a:cubicBezTo>
                <a:cubicBezTo>
                  <a:pt x="6741" y="3559"/>
                  <a:pt x="6837" y="4161"/>
                  <a:pt x="6888" y="5028"/>
                </a:cubicBezTo>
                <a:lnTo>
                  <a:pt x="6926" y="5760"/>
                </a:lnTo>
                <a:lnTo>
                  <a:pt x="7066" y="5760"/>
                </a:lnTo>
                <a:cubicBezTo>
                  <a:pt x="7060" y="4976"/>
                  <a:pt x="7060" y="4110"/>
                  <a:pt x="7066" y="3326"/>
                </a:cubicBezTo>
                <a:cubicBezTo>
                  <a:pt x="7004" y="3193"/>
                  <a:pt x="6772" y="2793"/>
                  <a:pt x="6427" y="2793"/>
                </a:cubicBezTo>
                <a:close/>
                <a:moveTo>
                  <a:pt x="7330" y="2992"/>
                </a:moveTo>
                <a:lnTo>
                  <a:pt x="7330" y="3360"/>
                </a:lnTo>
                <a:cubicBezTo>
                  <a:pt x="7440" y="3493"/>
                  <a:pt x="7456" y="3662"/>
                  <a:pt x="7456" y="4296"/>
                </a:cubicBezTo>
                <a:lnTo>
                  <a:pt x="7456" y="13367"/>
                </a:lnTo>
                <a:cubicBezTo>
                  <a:pt x="7456" y="14001"/>
                  <a:pt x="7440" y="14170"/>
                  <a:pt x="7330" y="14303"/>
                </a:cubicBezTo>
                <a:lnTo>
                  <a:pt x="7330" y="14667"/>
                </a:lnTo>
                <a:lnTo>
                  <a:pt x="8210" y="14667"/>
                </a:lnTo>
                <a:cubicBezTo>
                  <a:pt x="8747" y="14667"/>
                  <a:pt x="9079" y="13899"/>
                  <a:pt x="9079" y="10764"/>
                </a:cubicBezTo>
                <a:cubicBezTo>
                  <a:pt x="9079" y="7545"/>
                  <a:pt x="8652" y="7181"/>
                  <a:pt x="8049" y="7181"/>
                </a:cubicBezTo>
                <a:lnTo>
                  <a:pt x="7927" y="7181"/>
                </a:lnTo>
                <a:lnTo>
                  <a:pt x="7927" y="4412"/>
                </a:lnTo>
                <a:cubicBezTo>
                  <a:pt x="7927" y="3912"/>
                  <a:pt x="7946" y="3728"/>
                  <a:pt x="8084" y="3728"/>
                </a:cubicBezTo>
                <a:cubicBezTo>
                  <a:pt x="8084" y="3728"/>
                  <a:pt x="8385" y="3728"/>
                  <a:pt x="8385" y="3728"/>
                </a:cubicBezTo>
                <a:cubicBezTo>
                  <a:pt x="8671" y="3728"/>
                  <a:pt x="8749" y="3842"/>
                  <a:pt x="8818" y="5042"/>
                </a:cubicBezTo>
                <a:lnTo>
                  <a:pt x="8847" y="5527"/>
                </a:lnTo>
                <a:lnTo>
                  <a:pt x="8966" y="5527"/>
                </a:lnTo>
                <a:cubicBezTo>
                  <a:pt x="8960" y="4677"/>
                  <a:pt x="8960" y="3842"/>
                  <a:pt x="8966" y="2992"/>
                </a:cubicBezTo>
                <a:lnTo>
                  <a:pt x="7330" y="2992"/>
                </a:lnTo>
                <a:close/>
                <a:moveTo>
                  <a:pt x="9327" y="2992"/>
                </a:moveTo>
                <a:lnTo>
                  <a:pt x="9327" y="3360"/>
                </a:lnTo>
                <a:cubicBezTo>
                  <a:pt x="9437" y="3493"/>
                  <a:pt x="9453" y="3662"/>
                  <a:pt x="9453" y="4296"/>
                </a:cubicBezTo>
                <a:lnTo>
                  <a:pt x="9453" y="13367"/>
                </a:lnTo>
                <a:cubicBezTo>
                  <a:pt x="9453" y="14001"/>
                  <a:pt x="9437" y="14170"/>
                  <a:pt x="9327" y="14303"/>
                </a:cubicBezTo>
                <a:lnTo>
                  <a:pt x="9327" y="14667"/>
                </a:lnTo>
                <a:lnTo>
                  <a:pt x="10909" y="14667"/>
                </a:lnTo>
                <a:cubicBezTo>
                  <a:pt x="10903" y="13766"/>
                  <a:pt x="10903" y="12852"/>
                  <a:pt x="10909" y="11952"/>
                </a:cubicBezTo>
                <a:lnTo>
                  <a:pt x="10771" y="11952"/>
                </a:lnTo>
                <a:lnTo>
                  <a:pt x="10752" y="12383"/>
                </a:lnTo>
                <a:cubicBezTo>
                  <a:pt x="10689" y="13834"/>
                  <a:pt x="10614" y="13935"/>
                  <a:pt x="10329" y="13935"/>
                </a:cubicBezTo>
                <a:lnTo>
                  <a:pt x="10266" y="13935"/>
                </a:lnTo>
                <a:cubicBezTo>
                  <a:pt x="9977" y="13935"/>
                  <a:pt x="9924" y="13699"/>
                  <a:pt x="9924" y="12999"/>
                </a:cubicBezTo>
                <a:lnTo>
                  <a:pt x="9924" y="8645"/>
                </a:lnTo>
                <a:lnTo>
                  <a:pt x="10216" y="8645"/>
                </a:lnTo>
                <a:cubicBezTo>
                  <a:pt x="10338" y="8645"/>
                  <a:pt x="10529" y="8715"/>
                  <a:pt x="10604" y="8999"/>
                </a:cubicBezTo>
                <a:lnTo>
                  <a:pt x="10604" y="7530"/>
                </a:lnTo>
                <a:cubicBezTo>
                  <a:pt x="10529" y="7813"/>
                  <a:pt x="10338" y="7879"/>
                  <a:pt x="10216" y="7879"/>
                </a:cubicBezTo>
                <a:lnTo>
                  <a:pt x="9924" y="7879"/>
                </a:lnTo>
                <a:lnTo>
                  <a:pt x="9924" y="4262"/>
                </a:lnTo>
                <a:cubicBezTo>
                  <a:pt x="9924" y="3862"/>
                  <a:pt x="9939" y="3728"/>
                  <a:pt x="10033" y="3728"/>
                </a:cubicBezTo>
                <a:cubicBezTo>
                  <a:pt x="10033" y="3728"/>
                  <a:pt x="10279" y="3728"/>
                  <a:pt x="10279" y="3728"/>
                </a:cubicBezTo>
                <a:cubicBezTo>
                  <a:pt x="10564" y="3728"/>
                  <a:pt x="10642" y="3842"/>
                  <a:pt x="10711" y="5042"/>
                </a:cubicBezTo>
                <a:lnTo>
                  <a:pt x="10739" y="5527"/>
                </a:lnTo>
                <a:lnTo>
                  <a:pt x="10859" y="5527"/>
                </a:lnTo>
                <a:cubicBezTo>
                  <a:pt x="10853" y="4677"/>
                  <a:pt x="10853" y="3842"/>
                  <a:pt x="10859" y="2992"/>
                </a:cubicBezTo>
                <a:lnTo>
                  <a:pt x="9327" y="2992"/>
                </a:lnTo>
                <a:close/>
                <a:moveTo>
                  <a:pt x="11192" y="2992"/>
                </a:moveTo>
                <a:lnTo>
                  <a:pt x="11192" y="3360"/>
                </a:lnTo>
                <a:cubicBezTo>
                  <a:pt x="11302" y="3493"/>
                  <a:pt x="11317" y="3662"/>
                  <a:pt x="11317" y="4296"/>
                </a:cubicBezTo>
                <a:lnTo>
                  <a:pt x="11317" y="13367"/>
                </a:lnTo>
                <a:cubicBezTo>
                  <a:pt x="11317" y="14001"/>
                  <a:pt x="11302" y="14170"/>
                  <a:pt x="11192" y="14303"/>
                </a:cubicBezTo>
                <a:lnTo>
                  <a:pt x="11192" y="14667"/>
                </a:lnTo>
                <a:cubicBezTo>
                  <a:pt x="11192" y="14667"/>
                  <a:pt x="11914" y="14667"/>
                  <a:pt x="11914" y="14667"/>
                </a:cubicBezTo>
                <a:lnTo>
                  <a:pt x="11914" y="14303"/>
                </a:lnTo>
                <a:cubicBezTo>
                  <a:pt x="11804" y="14170"/>
                  <a:pt x="11788" y="14001"/>
                  <a:pt x="11788" y="13367"/>
                </a:cubicBezTo>
                <a:lnTo>
                  <a:pt x="11788" y="10046"/>
                </a:lnTo>
                <a:lnTo>
                  <a:pt x="12008" y="10046"/>
                </a:lnTo>
                <a:cubicBezTo>
                  <a:pt x="12538" y="10046"/>
                  <a:pt x="12865" y="9199"/>
                  <a:pt x="12865" y="6347"/>
                </a:cubicBezTo>
                <a:cubicBezTo>
                  <a:pt x="12865" y="3545"/>
                  <a:pt x="12538" y="2992"/>
                  <a:pt x="12102" y="2992"/>
                </a:cubicBezTo>
                <a:lnTo>
                  <a:pt x="11192" y="2992"/>
                </a:lnTo>
                <a:close/>
                <a:moveTo>
                  <a:pt x="13063" y="2992"/>
                </a:moveTo>
                <a:lnTo>
                  <a:pt x="13063" y="3360"/>
                </a:lnTo>
                <a:cubicBezTo>
                  <a:pt x="13172" y="3493"/>
                  <a:pt x="13188" y="3662"/>
                  <a:pt x="13188" y="4296"/>
                </a:cubicBezTo>
                <a:lnTo>
                  <a:pt x="13188" y="13367"/>
                </a:lnTo>
                <a:cubicBezTo>
                  <a:pt x="13188" y="14001"/>
                  <a:pt x="13172" y="14170"/>
                  <a:pt x="13063" y="14303"/>
                </a:cubicBezTo>
                <a:lnTo>
                  <a:pt x="13063" y="14667"/>
                </a:lnTo>
                <a:lnTo>
                  <a:pt x="13941" y="14667"/>
                </a:lnTo>
                <a:cubicBezTo>
                  <a:pt x="14478" y="14667"/>
                  <a:pt x="14811" y="13899"/>
                  <a:pt x="14811" y="10764"/>
                </a:cubicBezTo>
                <a:cubicBezTo>
                  <a:pt x="14811" y="7545"/>
                  <a:pt x="14384" y="7181"/>
                  <a:pt x="13782" y="7181"/>
                </a:cubicBezTo>
                <a:lnTo>
                  <a:pt x="13658" y="7181"/>
                </a:lnTo>
                <a:lnTo>
                  <a:pt x="13658" y="4412"/>
                </a:lnTo>
                <a:cubicBezTo>
                  <a:pt x="13658" y="3912"/>
                  <a:pt x="13677" y="3728"/>
                  <a:pt x="13815" y="3728"/>
                </a:cubicBezTo>
                <a:cubicBezTo>
                  <a:pt x="13815" y="3728"/>
                  <a:pt x="14117" y="3728"/>
                  <a:pt x="14117" y="3728"/>
                </a:cubicBezTo>
                <a:cubicBezTo>
                  <a:pt x="14403" y="3728"/>
                  <a:pt x="14481" y="3842"/>
                  <a:pt x="14550" y="5042"/>
                </a:cubicBezTo>
                <a:lnTo>
                  <a:pt x="14578" y="5527"/>
                </a:lnTo>
                <a:lnTo>
                  <a:pt x="14698" y="5527"/>
                </a:lnTo>
                <a:cubicBezTo>
                  <a:pt x="14692" y="4677"/>
                  <a:pt x="14692" y="3842"/>
                  <a:pt x="14698" y="2992"/>
                </a:cubicBezTo>
                <a:lnTo>
                  <a:pt x="13063" y="2992"/>
                </a:lnTo>
                <a:close/>
                <a:moveTo>
                  <a:pt x="15564" y="2992"/>
                </a:moveTo>
                <a:lnTo>
                  <a:pt x="15564" y="3360"/>
                </a:lnTo>
                <a:cubicBezTo>
                  <a:pt x="15677" y="3493"/>
                  <a:pt x="15690" y="3810"/>
                  <a:pt x="15690" y="4044"/>
                </a:cubicBezTo>
                <a:cubicBezTo>
                  <a:pt x="15690" y="4377"/>
                  <a:pt x="15674" y="4746"/>
                  <a:pt x="15583" y="5930"/>
                </a:cubicBezTo>
                <a:lnTo>
                  <a:pt x="15178" y="11234"/>
                </a:lnTo>
                <a:cubicBezTo>
                  <a:pt x="15027" y="13185"/>
                  <a:pt x="14927" y="14216"/>
                  <a:pt x="14874" y="14667"/>
                </a:cubicBezTo>
                <a:lnTo>
                  <a:pt x="15273" y="14667"/>
                </a:lnTo>
                <a:cubicBezTo>
                  <a:pt x="15276" y="14400"/>
                  <a:pt x="15294" y="13898"/>
                  <a:pt x="15319" y="13232"/>
                </a:cubicBezTo>
                <a:cubicBezTo>
                  <a:pt x="15347" y="12564"/>
                  <a:pt x="15401" y="11616"/>
                  <a:pt x="15473" y="10448"/>
                </a:cubicBezTo>
                <a:lnTo>
                  <a:pt x="16170" y="10448"/>
                </a:lnTo>
                <a:lnTo>
                  <a:pt x="16265" y="11932"/>
                </a:lnTo>
                <a:cubicBezTo>
                  <a:pt x="16324" y="12866"/>
                  <a:pt x="16393" y="14033"/>
                  <a:pt x="16411" y="14667"/>
                </a:cubicBezTo>
                <a:cubicBezTo>
                  <a:pt x="16411" y="14667"/>
                  <a:pt x="16971" y="14667"/>
                  <a:pt x="16971" y="14667"/>
                </a:cubicBezTo>
                <a:cubicBezTo>
                  <a:pt x="16924" y="14250"/>
                  <a:pt x="16826" y="13082"/>
                  <a:pt x="16735" y="11714"/>
                </a:cubicBezTo>
                <a:lnTo>
                  <a:pt x="16274" y="4727"/>
                </a:lnTo>
                <a:cubicBezTo>
                  <a:pt x="16208" y="3743"/>
                  <a:pt x="16201" y="3342"/>
                  <a:pt x="16192" y="2992"/>
                </a:cubicBezTo>
                <a:lnTo>
                  <a:pt x="15564" y="2992"/>
                </a:lnTo>
                <a:close/>
                <a:moveTo>
                  <a:pt x="17140" y="2992"/>
                </a:moveTo>
                <a:lnTo>
                  <a:pt x="17140" y="3360"/>
                </a:lnTo>
                <a:cubicBezTo>
                  <a:pt x="17250" y="3493"/>
                  <a:pt x="17266" y="3662"/>
                  <a:pt x="17266" y="4296"/>
                </a:cubicBezTo>
                <a:lnTo>
                  <a:pt x="17266" y="13367"/>
                </a:lnTo>
                <a:cubicBezTo>
                  <a:pt x="17266" y="14001"/>
                  <a:pt x="17250" y="14170"/>
                  <a:pt x="17140" y="14303"/>
                </a:cubicBezTo>
                <a:lnTo>
                  <a:pt x="17140" y="14667"/>
                </a:lnTo>
                <a:lnTo>
                  <a:pt x="17861" y="14667"/>
                </a:lnTo>
                <a:lnTo>
                  <a:pt x="17861" y="14303"/>
                </a:lnTo>
                <a:cubicBezTo>
                  <a:pt x="17752" y="14170"/>
                  <a:pt x="17736" y="14001"/>
                  <a:pt x="17736" y="13367"/>
                </a:cubicBezTo>
                <a:lnTo>
                  <a:pt x="17736" y="8645"/>
                </a:lnTo>
                <a:lnTo>
                  <a:pt x="18584" y="8645"/>
                </a:lnTo>
                <a:cubicBezTo>
                  <a:pt x="18584" y="8645"/>
                  <a:pt x="18584" y="13367"/>
                  <a:pt x="18584" y="13367"/>
                </a:cubicBezTo>
                <a:cubicBezTo>
                  <a:pt x="18584" y="14001"/>
                  <a:pt x="18568" y="14170"/>
                  <a:pt x="18458" y="14303"/>
                </a:cubicBezTo>
                <a:lnTo>
                  <a:pt x="18458" y="14667"/>
                </a:lnTo>
                <a:lnTo>
                  <a:pt x="19180" y="14667"/>
                </a:lnTo>
                <a:lnTo>
                  <a:pt x="19180" y="14303"/>
                </a:lnTo>
                <a:cubicBezTo>
                  <a:pt x="19070" y="14170"/>
                  <a:pt x="19055" y="14001"/>
                  <a:pt x="19055" y="13367"/>
                </a:cubicBezTo>
                <a:lnTo>
                  <a:pt x="19055" y="4296"/>
                </a:lnTo>
                <a:cubicBezTo>
                  <a:pt x="19055" y="3662"/>
                  <a:pt x="19070" y="3493"/>
                  <a:pt x="19180" y="3360"/>
                </a:cubicBezTo>
                <a:lnTo>
                  <a:pt x="19180" y="2992"/>
                </a:lnTo>
                <a:lnTo>
                  <a:pt x="18458" y="2992"/>
                </a:lnTo>
                <a:lnTo>
                  <a:pt x="18458" y="3360"/>
                </a:lnTo>
                <a:cubicBezTo>
                  <a:pt x="18568" y="3493"/>
                  <a:pt x="18584" y="3662"/>
                  <a:pt x="18584" y="4296"/>
                </a:cubicBezTo>
                <a:lnTo>
                  <a:pt x="18584" y="7879"/>
                </a:lnTo>
                <a:lnTo>
                  <a:pt x="17736" y="7879"/>
                </a:lnTo>
                <a:lnTo>
                  <a:pt x="17736" y="4296"/>
                </a:lnTo>
                <a:cubicBezTo>
                  <a:pt x="17736" y="3662"/>
                  <a:pt x="17752" y="3493"/>
                  <a:pt x="17861" y="3360"/>
                </a:cubicBezTo>
                <a:lnTo>
                  <a:pt x="17861" y="2992"/>
                </a:lnTo>
                <a:lnTo>
                  <a:pt x="17140" y="2992"/>
                </a:lnTo>
                <a:close/>
                <a:moveTo>
                  <a:pt x="19529" y="2992"/>
                </a:moveTo>
                <a:lnTo>
                  <a:pt x="19529" y="3360"/>
                </a:lnTo>
                <a:cubicBezTo>
                  <a:pt x="19638" y="3493"/>
                  <a:pt x="19655" y="3662"/>
                  <a:pt x="19655" y="4296"/>
                </a:cubicBezTo>
                <a:cubicBezTo>
                  <a:pt x="19655" y="4296"/>
                  <a:pt x="19655" y="13367"/>
                  <a:pt x="19655" y="13367"/>
                </a:cubicBezTo>
                <a:cubicBezTo>
                  <a:pt x="19655" y="14001"/>
                  <a:pt x="19638" y="14170"/>
                  <a:pt x="19529" y="14303"/>
                </a:cubicBezTo>
                <a:lnTo>
                  <a:pt x="19529" y="14667"/>
                </a:lnTo>
                <a:lnTo>
                  <a:pt x="20250" y="14667"/>
                </a:lnTo>
                <a:lnTo>
                  <a:pt x="20250" y="14303"/>
                </a:lnTo>
                <a:cubicBezTo>
                  <a:pt x="20141" y="14170"/>
                  <a:pt x="20125" y="14001"/>
                  <a:pt x="20125" y="13367"/>
                </a:cubicBezTo>
                <a:lnTo>
                  <a:pt x="20125" y="4296"/>
                </a:lnTo>
                <a:cubicBezTo>
                  <a:pt x="20125" y="3662"/>
                  <a:pt x="20141" y="3493"/>
                  <a:pt x="20250" y="3360"/>
                </a:cubicBezTo>
                <a:lnTo>
                  <a:pt x="20250" y="2992"/>
                </a:lnTo>
                <a:lnTo>
                  <a:pt x="19529" y="2992"/>
                </a:lnTo>
                <a:close/>
                <a:moveTo>
                  <a:pt x="20906" y="2992"/>
                </a:moveTo>
                <a:cubicBezTo>
                  <a:pt x="20847" y="3792"/>
                  <a:pt x="20624" y="5376"/>
                  <a:pt x="20451" y="6560"/>
                </a:cubicBezTo>
                <a:lnTo>
                  <a:pt x="20163" y="8548"/>
                </a:lnTo>
                <a:lnTo>
                  <a:pt x="20496" y="11200"/>
                </a:lnTo>
                <a:cubicBezTo>
                  <a:pt x="20725" y="13035"/>
                  <a:pt x="20803" y="14050"/>
                  <a:pt x="20856" y="14667"/>
                </a:cubicBezTo>
                <a:lnTo>
                  <a:pt x="21595" y="14667"/>
                </a:lnTo>
                <a:cubicBezTo>
                  <a:pt x="21334" y="13266"/>
                  <a:pt x="20975" y="10698"/>
                  <a:pt x="20822" y="9547"/>
                </a:cubicBezTo>
                <a:cubicBezTo>
                  <a:pt x="20822" y="9547"/>
                  <a:pt x="20536" y="7394"/>
                  <a:pt x="20536" y="7394"/>
                </a:cubicBezTo>
                <a:lnTo>
                  <a:pt x="20765" y="6095"/>
                </a:lnTo>
                <a:cubicBezTo>
                  <a:pt x="20866" y="5511"/>
                  <a:pt x="21214" y="3645"/>
                  <a:pt x="21421" y="3011"/>
                </a:cubicBezTo>
                <a:lnTo>
                  <a:pt x="21421" y="2992"/>
                </a:lnTo>
                <a:lnTo>
                  <a:pt x="20906" y="2992"/>
                </a:lnTo>
                <a:close/>
                <a:moveTo>
                  <a:pt x="3744" y="3185"/>
                </a:moveTo>
                <a:cubicBezTo>
                  <a:pt x="3744" y="3185"/>
                  <a:pt x="1286" y="10701"/>
                  <a:pt x="1286" y="10701"/>
                </a:cubicBezTo>
                <a:lnTo>
                  <a:pt x="93" y="7055"/>
                </a:lnTo>
                <a:cubicBezTo>
                  <a:pt x="70" y="7458"/>
                  <a:pt x="50" y="7874"/>
                  <a:pt x="36" y="8296"/>
                </a:cubicBezTo>
                <a:lnTo>
                  <a:pt x="1286" y="12112"/>
                </a:lnTo>
                <a:lnTo>
                  <a:pt x="3882" y="4179"/>
                </a:lnTo>
                <a:cubicBezTo>
                  <a:pt x="3839" y="3835"/>
                  <a:pt x="3793" y="3502"/>
                  <a:pt x="3744" y="3185"/>
                </a:cubicBezTo>
                <a:close/>
                <a:moveTo>
                  <a:pt x="11926" y="3728"/>
                </a:moveTo>
                <a:lnTo>
                  <a:pt x="11977" y="3728"/>
                </a:lnTo>
                <a:cubicBezTo>
                  <a:pt x="12272" y="3728"/>
                  <a:pt x="12372" y="4710"/>
                  <a:pt x="12372" y="6245"/>
                </a:cubicBezTo>
                <a:cubicBezTo>
                  <a:pt x="12372" y="8063"/>
                  <a:pt x="12302" y="9314"/>
                  <a:pt x="12010" y="9314"/>
                </a:cubicBezTo>
                <a:cubicBezTo>
                  <a:pt x="12010" y="9314"/>
                  <a:pt x="11788" y="9314"/>
                  <a:pt x="11788" y="9314"/>
                </a:cubicBezTo>
                <a:lnTo>
                  <a:pt x="11788" y="4359"/>
                </a:lnTo>
                <a:cubicBezTo>
                  <a:pt x="11788" y="3808"/>
                  <a:pt x="11832" y="3728"/>
                  <a:pt x="11926" y="3728"/>
                </a:cubicBezTo>
                <a:close/>
                <a:moveTo>
                  <a:pt x="15827" y="4960"/>
                </a:moveTo>
                <a:lnTo>
                  <a:pt x="16123" y="9663"/>
                </a:lnTo>
                <a:cubicBezTo>
                  <a:pt x="16123" y="9663"/>
                  <a:pt x="15524" y="9663"/>
                  <a:pt x="15524" y="9663"/>
                </a:cubicBezTo>
                <a:lnTo>
                  <a:pt x="15827" y="4960"/>
                </a:lnTo>
                <a:close/>
                <a:moveTo>
                  <a:pt x="3999" y="5236"/>
                </a:moveTo>
                <a:lnTo>
                  <a:pt x="1286" y="13527"/>
                </a:lnTo>
                <a:lnTo>
                  <a:pt x="5" y="9615"/>
                </a:lnTo>
                <a:cubicBezTo>
                  <a:pt x="1" y="9862"/>
                  <a:pt x="0" y="10108"/>
                  <a:pt x="0" y="10361"/>
                </a:cubicBezTo>
                <a:cubicBezTo>
                  <a:pt x="0" y="16568"/>
                  <a:pt x="947" y="21600"/>
                  <a:pt x="2115" y="21600"/>
                </a:cubicBezTo>
                <a:cubicBezTo>
                  <a:pt x="3283" y="21600"/>
                  <a:pt x="4230" y="16568"/>
                  <a:pt x="4230" y="10361"/>
                </a:cubicBezTo>
                <a:cubicBezTo>
                  <a:pt x="4230" y="8514"/>
                  <a:pt x="4147" y="6773"/>
                  <a:pt x="3999" y="5236"/>
                </a:cubicBezTo>
                <a:close/>
                <a:moveTo>
                  <a:pt x="7927" y="7913"/>
                </a:moveTo>
                <a:lnTo>
                  <a:pt x="8119" y="7913"/>
                </a:lnTo>
                <a:cubicBezTo>
                  <a:pt x="8489" y="7913"/>
                  <a:pt x="8586" y="8979"/>
                  <a:pt x="8586" y="10880"/>
                </a:cubicBezTo>
                <a:cubicBezTo>
                  <a:pt x="8586" y="12915"/>
                  <a:pt x="8474" y="13935"/>
                  <a:pt x="8188" y="13935"/>
                </a:cubicBezTo>
                <a:cubicBezTo>
                  <a:pt x="8188" y="13935"/>
                  <a:pt x="8121" y="13935"/>
                  <a:pt x="8121" y="13935"/>
                </a:cubicBezTo>
                <a:cubicBezTo>
                  <a:pt x="7964" y="13935"/>
                  <a:pt x="7927" y="13667"/>
                  <a:pt x="7927" y="12916"/>
                </a:cubicBezTo>
                <a:lnTo>
                  <a:pt x="7927" y="7913"/>
                </a:lnTo>
                <a:close/>
                <a:moveTo>
                  <a:pt x="13658" y="7913"/>
                </a:moveTo>
                <a:lnTo>
                  <a:pt x="13850" y="7913"/>
                </a:lnTo>
                <a:cubicBezTo>
                  <a:pt x="14220" y="7913"/>
                  <a:pt x="14318" y="8979"/>
                  <a:pt x="14318" y="10880"/>
                </a:cubicBezTo>
                <a:cubicBezTo>
                  <a:pt x="14318" y="12915"/>
                  <a:pt x="14205" y="13935"/>
                  <a:pt x="13919" y="13935"/>
                </a:cubicBezTo>
                <a:cubicBezTo>
                  <a:pt x="13919" y="13935"/>
                  <a:pt x="13854" y="13935"/>
                  <a:pt x="13854" y="13935"/>
                </a:cubicBezTo>
                <a:cubicBezTo>
                  <a:pt x="13697" y="13935"/>
                  <a:pt x="13658" y="13667"/>
                  <a:pt x="13658" y="12916"/>
                </a:cubicBezTo>
                <a:lnTo>
                  <a:pt x="13658" y="7913"/>
                </a:lnTo>
                <a:close/>
                <a:moveTo>
                  <a:pt x="5519" y="17532"/>
                </a:moveTo>
                <a:lnTo>
                  <a:pt x="5519" y="18701"/>
                </a:lnTo>
                <a:lnTo>
                  <a:pt x="21600" y="18701"/>
                </a:lnTo>
                <a:cubicBezTo>
                  <a:pt x="21600" y="18701"/>
                  <a:pt x="21600" y="17532"/>
                  <a:pt x="21600" y="17532"/>
                </a:cubicBezTo>
                <a:lnTo>
                  <a:pt x="5519" y="17532"/>
                </a:lnTo>
                <a:close/>
              </a:path>
            </a:pathLst>
          </a:custGeom>
          <a:solidFill>
            <a:schemeClr val="bg1"/>
          </a:solidFill>
          <a:ln w="12700">
            <a:miter lim="400000"/>
          </a:ln>
        </p:spPr>
        <p:txBody>
          <a:bodyPr lIns="38100" tIns="38100" rIns="38100" bIns="38100" anchor="ctr"/>
          <a:lstStyle/>
          <a:p>
            <a:pPr defTabSz="914377">
              <a:defRPr sz="3000">
                <a:solidFill>
                  <a:srgbClr val="FFFFFF"/>
                </a:solidFill>
                <a:effectLst>
                  <a:outerShdw blurRad="38100" dist="12700" dir="5400000" rotWithShape="0">
                    <a:srgbClr val="000000">
                      <a:alpha val="50000"/>
                    </a:srgbClr>
                  </a:outerShdw>
                </a:effectLst>
              </a:defRPr>
            </a:pPr>
            <a:endParaRPr sz="4000" dirty="0">
              <a:solidFill>
                <a:srgbClr val="FFFFFF"/>
              </a:solidFill>
              <a:effectLst>
                <a:outerShdw blurRad="38100" dist="12700" dir="5400000" rotWithShape="0">
                  <a:srgbClr val="000000">
                    <a:alpha val="50000"/>
                  </a:srgbClr>
                </a:outerShdw>
              </a:effectLst>
            </a:endParaRPr>
          </a:p>
        </p:txBody>
      </p:sp>
      <p:pic>
        <p:nvPicPr>
          <p:cNvPr id="2" name="Рисунок 1" descr="http://05311BFB0B7396CBCF59420FADC09062.dms.sberbank.ru/05311BFB0B7396CBCF59420FADC09062-A3706015402A346BAE2C7E4161CEDD42-AA08E215F1EBA7C368CDE302EC67DC4F/1.png"/>
          <p:cNvPicPr>
            <a:picLocks/>
          </p:cNvPicPr>
          <p:nvPr userDrawn="1"/>
        </p:nvPicPr>
        <p:blipFill>
          <a:blip r:link="rId2"/>
          <a:stretch>
            <a:fillRect/>
          </a:stretch>
        </p:blipFill>
        <p:spPr>
          <a:xfrm>
            <a:off x="0" y="0"/>
            <a:ext cx="1588" cy="1588"/>
          </a:xfrm>
          <a:prstGeom prst="rect">
            <a:avLst/>
          </a:prstGeom>
        </p:spPr>
      </p:pic>
    </p:spTree>
    <p:extLst>
      <p:ext uri="{BB962C8B-B14F-4D97-AF65-F5344CB8AC3E}">
        <p14:creationId xmlns:p14="http://schemas.microsoft.com/office/powerpoint/2010/main" val="415758926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1"/>
            </p:custDataLst>
            <p:extLst>
              <p:ext uri="{D42A27DB-BD31-4B8C-83A1-F6EECF244321}">
                <p14:modId xmlns:p14="http://schemas.microsoft.com/office/powerpoint/2010/main" val="3021841772"/>
              </p:ext>
            </p:extLst>
          </p:nvPr>
        </p:nvGraphicFramePr>
        <p:xfrm>
          <a:off x="2034" y="1592"/>
          <a:ext cx="2015" cy="1587"/>
        </p:xfrm>
        <a:graphic>
          <a:graphicData uri="http://schemas.openxmlformats.org/presentationml/2006/ole">
            <mc:AlternateContent xmlns:mc="http://schemas.openxmlformats.org/markup-compatibility/2006">
              <mc:Choice xmlns:v="urn:schemas-microsoft-com:vml" Requires="v">
                <p:oleObj name="Слайд think-cell" r:id="rId3" imgW="360" imgH="360" progId="TCLayout.ActiveDocument.1">
                  <p:embed/>
                </p:oleObj>
              </mc:Choice>
              <mc:Fallback>
                <p:oleObj name="Слайд think-cell" r:id="rId3" imgW="360" imgH="360" progId="TCLayout.ActiveDocument.1">
                  <p:embed/>
                  <p:pic>
                    <p:nvPicPr>
                      <p:cNvPr id="11" name="Object 1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34" y="1592"/>
                        <a:ext cx="201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10" descr="SBRF-9129.jpg"/>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783245" y="4077091"/>
            <a:ext cx="4408755" cy="2780927"/>
          </a:xfrm>
          <a:prstGeom prst="rect">
            <a:avLst/>
          </a:prstGeom>
        </p:spPr>
      </p:pic>
      <p:sp>
        <p:nvSpPr>
          <p:cNvPr id="2" name="Title 1"/>
          <p:cNvSpPr>
            <a:spLocks noGrp="1"/>
          </p:cNvSpPr>
          <p:nvPr>
            <p:ph type="ctrTitle"/>
          </p:nvPr>
        </p:nvSpPr>
        <p:spPr>
          <a:xfrm>
            <a:off x="1483455" y="2130445"/>
            <a:ext cx="9794161" cy="1470025"/>
          </a:xfrm>
          <a:prstGeom prst="rect">
            <a:avLst/>
          </a:prstGeom>
        </p:spPr>
        <p:txBody>
          <a:bodyPr lIns="91438" tIns="45719" rIns="91438" bIns="45719">
            <a:normAutofit/>
          </a:bodyPr>
          <a:lstStyle>
            <a:lvl1pPr>
              <a:defRPr sz="3200">
                <a:solidFill>
                  <a:schemeClr val="tx2"/>
                </a:solidFill>
              </a:defRPr>
            </a:lvl1pPr>
          </a:lstStyle>
          <a:p>
            <a:r>
              <a:rPr lang="en-US" dirty="0"/>
              <a:t>Click to edit Master title style</a:t>
            </a:r>
          </a:p>
        </p:txBody>
      </p:sp>
      <p:sp>
        <p:nvSpPr>
          <p:cNvPr id="3" name="Subtitle 2"/>
          <p:cNvSpPr>
            <a:spLocks noGrp="1"/>
          </p:cNvSpPr>
          <p:nvPr>
            <p:ph type="subTitle" idx="1"/>
          </p:nvPr>
        </p:nvSpPr>
        <p:spPr>
          <a:xfrm>
            <a:off x="1483440" y="3886200"/>
            <a:ext cx="6449725" cy="1752600"/>
          </a:xfrm>
          <a:prstGeom prst="rect">
            <a:avLst/>
          </a:prstGeom>
        </p:spPr>
        <p:txBody>
          <a:bodyPr lIns="91438" tIns="45719" rIns="91438" bIns="45719">
            <a:normAutofit/>
          </a:bodyPr>
          <a:lstStyle>
            <a:lvl1pPr marL="0" indent="0" algn="l">
              <a:buNone/>
              <a:defRPr sz="2267">
                <a:solidFill>
                  <a:schemeClr val="accent3"/>
                </a:solidFill>
              </a:defRPr>
            </a:lvl1pPr>
            <a:lvl2pPr marL="528605" indent="0" algn="ctr">
              <a:buNone/>
              <a:defRPr>
                <a:solidFill>
                  <a:schemeClr val="tx1">
                    <a:tint val="75000"/>
                  </a:schemeClr>
                </a:solidFill>
              </a:defRPr>
            </a:lvl2pPr>
            <a:lvl3pPr marL="1057214" indent="0" algn="ctr">
              <a:buNone/>
              <a:defRPr>
                <a:solidFill>
                  <a:schemeClr val="tx1">
                    <a:tint val="75000"/>
                  </a:schemeClr>
                </a:solidFill>
              </a:defRPr>
            </a:lvl3pPr>
            <a:lvl4pPr marL="1585816" indent="0" algn="ctr">
              <a:buNone/>
              <a:defRPr>
                <a:solidFill>
                  <a:schemeClr val="tx1">
                    <a:tint val="75000"/>
                  </a:schemeClr>
                </a:solidFill>
              </a:defRPr>
            </a:lvl4pPr>
            <a:lvl5pPr marL="2114422" indent="0" algn="ctr">
              <a:buNone/>
              <a:defRPr>
                <a:solidFill>
                  <a:schemeClr val="tx1">
                    <a:tint val="75000"/>
                  </a:schemeClr>
                </a:solidFill>
              </a:defRPr>
            </a:lvl5pPr>
            <a:lvl6pPr marL="2643019" indent="0" algn="ctr">
              <a:buNone/>
              <a:defRPr>
                <a:solidFill>
                  <a:schemeClr val="tx1">
                    <a:tint val="75000"/>
                  </a:schemeClr>
                </a:solidFill>
              </a:defRPr>
            </a:lvl6pPr>
            <a:lvl7pPr marL="3171631" indent="0" algn="ctr">
              <a:buNone/>
              <a:defRPr>
                <a:solidFill>
                  <a:schemeClr val="tx1">
                    <a:tint val="75000"/>
                  </a:schemeClr>
                </a:solidFill>
              </a:defRPr>
            </a:lvl7pPr>
            <a:lvl8pPr marL="3700241" indent="0" algn="ctr">
              <a:buNone/>
              <a:defRPr>
                <a:solidFill>
                  <a:schemeClr val="tx1">
                    <a:tint val="75000"/>
                  </a:schemeClr>
                </a:solidFill>
              </a:defRPr>
            </a:lvl8pPr>
            <a:lvl9pPr marL="4228845" indent="0" algn="ctr">
              <a:buNone/>
              <a:defRPr>
                <a:solidFill>
                  <a:schemeClr val="tx1">
                    <a:tint val="75000"/>
                  </a:schemeClr>
                </a:solidFill>
              </a:defRPr>
            </a:lvl9pPr>
          </a:lstStyle>
          <a:p>
            <a:r>
              <a:rPr lang="en-US" dirty="0"/>
              <a:t>Click to edit Master subtitle style</a:t>
            </a:r>
          </a:p>
        </p:txBody>
      </p:sp>
      <p:sp>
        <p:nvSpPr>
          <p:cNvPr id="4" name="Subnomenclature"/>
          <p:cNvSpPr txBox="1"/>
          <p:nvPr userDrawn="1"/>
        </p:nvSpPr>
        <p:spPr>
          <a:xfrm>
            <a:off x="1146859" y="6406638"/>
            <a:ext cx="65" cy="184666"/>
          </a:xfrm>
          <a:prstGeom prst="rect">
            <a:avLst/>
          </a:prstGeom>
          <a:noFill/>
        </p:spPr>
        <p:txBody>
          <a:bodyPr vert="horz" wrap="none" lIns="0" tIns="0" rIns="0" bIns="0" rtlCol="0" anchor="b">
            <a:spAutoFit/>
          </a:bodyPr>
          <a:lstStyle/>
          <a:p>
            <a:pPr defTabSz="914377">
              <a:spcBef>
                <a:spcPts val="695"/>
              </a:spcBef>
            </a:pPr>
            <a:endParaRPr lang="en-US" sz="1200" b="1" dirty="0">
              <a:solidFill>
                <a:srgbClr val="DC0F00"/>
              </a:solidFill>
            </a:endParaRPr>
          </a:p>
        </p:txBody>
      </p:sp>
      <p:pic>
        <p:nvPicPr>
          <p:cNvPr id="6" name="Picture 3" descr="C:\Users\amosova-pn\Desktop\Информация\Амосовой Полине\Бренд\есть\Логотипы\PI_S1\PI_S1_RGB.png"/>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452532" y="326817"/>
            <a:ext cx="3346837" cy="8699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944438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cSld name="9_Title Slide">
    <p:spTree>
      <p:nvGrpSpPr>
        <p:cNvPr id="1" name=""/>
        <p:cNvGrpSpPr/>
        <p:nvPr/>
      </p:nvGrpSpPr>
      <p:grpSpPr>
        <a:xfrm>
          <a:off x="0" y="0"/>
          <a:ext cx="0" cy="0"/>
          <a:chOff x="0" y="0"/>
          <a:chExt cx="0" cy="0"/>
        </a:xfrm>
      </p:grpSpPr>
      <p:cxnSp>
        <p:nvCxnSpPr>
          <p:cNvPr id="10" name="Straight Connector 9"/>
          <p:cNvCxnSpPr/>
          <p:nvPr/>
        </p:nvCxnSpPr>
        <p:spPr>
          <a:xfrm>
            <a:off x="0" y="958177"/>
            <a:ext cx="12192000" cy="0"/>
          </a:xfrm>
          <a:prstGeom prst="line">
            <a:avLst/>
          </a:prstGeom>
          <a:ln>
            <a:solidFill>
              <a:srgbClr val="95C43F"/>
            </a:solidFill>
          </a:ln>
          <a:effectLst/>
        </p:spPr>
        <p:style>
          <a:lnRef idx="2">
            <a:schemeClr val="accent1"/>
          </a:lnRef>
          <a:fillRef idx="0">
            <a:schemeClr val="accent1"/>
          </a:fillRef>
          <a:effectRef idx="1">
            <a:schemeClr val="accent1"/>
          </a:effectRef>
          <a:fontRef idx="minor">
            <a:schemeClr val="tx1"/>
          </a:fontRef>
        </p:style>
      </p:cxnSp>
      <p:sp>
        <p:nvSpPr>
          <p:cNvPr id="4" name="Заголовок 3"/>
          <p:cNvSpPr>
            <a:spLocks noGrp="1"/>
          </p:cNvSpPr>
          <p:nvPr>
            <p:ph type="title"/>
          </p:nvPr>
        </p:nvSpPr>
        <p:spPr>
          <a:xfrm>
            <a:off x="117645" y="97164"/>
            <a:ext cx="8571272" cy="769109"/>
          </a:xfrm>
          <a:prstGeom prst="rect">
            <a:avLst/>
          </a:prstGeom>
        </p:spPr>
        <p:txBody>
          <a:bodyPr lIns="91438" tIns="45719" rIns="91438" bIns="45719"/>
          <a:lstStyle/>
          <a:p>
            <a:r>
              <a:rPr lang="ru-RU"/>
              <a:t>Образец заголовка</a:t>
            </a:r>
          </a:p>
        </p:txBody>
      </p:sp>
      <p:sp>
        <p:nvSpPr>
          <p:cNvPr id="8" name="TextBox 7"/>
          <p:cNvSpPr txBox="1"/>
          <p:nvPr userDrawn="1"/>
        </p:nvSpPr>
        <p:spPr>
          <a:xfrm>
            <a:off x="11472601" y="6453344"/>
            <a:ext cx="719403" cy="410431"/>
          </a:xfrm>
          <a:prstGeom prst="rect">
            <a:avLst/>
          </a:prstGeom>
          <a:noFill/>
        </p:spPr>
        <p:txBody>
          <a:bodyPr wrap="square" lIns="121917" tIns="60959" rIns="121917" bIns="60959" rtlCol="0">
            <a:spAutoFit/>
          </a:bodyPr>
          <a:lstStyle/>
          <a:p>
            <a:pPr defTabSz="1219140"/>
            <a:fld id="{91AD4EB0-CEB3-4892-90AA-400FF97E5AC3}" type="slidenum">
              <a:rPr lang="ru-RU" sz="1867" smtClean="0">
                <a:solidFill>
                  <a:srgbClr val="000000"/>
                </a:solidFill>
                <a:cs typeface="Calibri" panose="020F0502020204030204" pitchFamily="34" charset="0"/>
              </a:rPr>
              <a:pPr defTabSz="1219140"/>
              <a:t>‹#›</a:t>
            </a:fld>
            <a:endParaRPr lang="ru-RU" sz="1867" dirty="0">
              <a:solidFill>
                <a:srgbClr val="000000"/>
              </a:solidFill>
              <a:cs typeface="Calibri" panose="020F0502020204030204" pitchFamily="34" charset="0"/>
            </a:endParaRPr>
          </a:p>
        </p:txBody>
      </p:sp>
      <p:pic>
        <p:nvPicPr>
          <p:cNvPr id="7" name="Picture 7" descr="Screen Shot 2013-12-24 at 12.16.45.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25693" y="163113"/>
            <a:ext cx="2035531" cy="637215"/>
          </a:xfrm>
          <a:prstGeom prst="rect">
            <a:avLst/>
          </a:prstGeom>
        </p:spPr>
      </p:pic>
    </p:spTree>
    <p:extLst>
      <p:ext uri="{BB962C8B-B14F-4D97-AF65-F5344CB8AC3E}">
        <p14:creationId xmlns:p14="http://schemas.microsoft.com/office/powerpoint/2010/main" val="62550486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2 колонки текст + цитата справа">
    <p:spTree>
      <p:nvGrpSpPr>
        <p:cNvPr id="1" name=""/>
        <p:cNvGrpSpPr/>
        <p:nvPr/>
      </p:nvGrpSpPr>
      <p:grpSpPr>
        <a:xfrm>
          <a:off x="0" y="0"/>
          <a:ext cx="0" cy="0"/>
          <a:chOff x="0" y="0"/>
          <a:chExt cx="0" cy="0"/>
        </a:xfrm>
      </p:grpSpPr>
      <p:sp>
        <p:nvSpPr>
          <p:cNvPr id="8" name="Rectangle 7"/>
          <p:cNvSpPr/>
          <p:nvPr userDrawn="1"/>
        </p:nvSpPr>
        <p:spPr>
          <a:xfrm>
            <a:off x="0" y="-9177"/>
            <a:ext cx="12192000" cy="882357"/>
          </a:xfrm>
          <a:prstGeom prst="rect">
            <a:avLst/>
          </a:prstGeom>
          <a:solidFill>
            <a:schemeClr val="bg1"/>
          </a:solidFill>
          <a:ln w="12700" cap="flat">
            <a:noFill/>
            <a:miter lim="400000"/>
          </a:ln>
          <a:effectLst>
            <a:outerShdw blurRad="12700" dist="25400" dir="5400000" rotWithShape="0">
              <a:schemeClr val="bg2">
                <a:lumMod val="90000"/>
                <a:alpha val="20000"/>
              </a:scheme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28575" rtlCol="0" anchor="ctr">
            <a:spAutoFit/>
          </a:bodyPr>
          <a:lstStyle/>
          <a:p>
            <a:pPr algn="ctr" defTabSz="736582" hangingPunct="0"/>
            <a:endParaRPr lang="en-US" sz="5067" dirty="0">
              <a:solidFill>
                <a:srgbClr val="FFFFFF"/>
              </a:solidFill>
              <a:effectLst>
                <a:outerShdw blurRad="38100" dist="12700" dir="5400000" rotWithShape="0">
                  <a:srgbClr val="000000">
                    <a:alpha val="50000"/>
                  </a:srgbClr>
                </a:outerShdw>
              </a:effectLst>
              <a:sym typeface="Gill Sans"/>
            </a:endParaRPr>
          </a:p>
        </p:txBody>
      </p:sp>
      <p:sp>
        <p:nvSpPr>
          <p:cNvPr id="4" name="Text Placeholder 3"/>
          <p:cNvSpPr>
            <a:spLocks noGrp="1"/>
          </p:cNvSpPr>
          <p:nvPr>
            <p:ph type="body" sz="quarter" idx="12"/>
          </p:nvPr>
        </p:nvSpPr>
        <p:spPr>
          <a:xfrm>
            <a:off x="8509001" y="783772"/>
            <a:ext cx="3683001" cy="5994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1053000" rIns="540000" bIns="34290" rtlCol="0" anchor="t"/>
          <a:lstStyle>
            <a:lvl1pPr marL="227008" indent="0">
              <a:lnSpc>
                <a:spcPct val="100000"/>
              </a:lnSpc>
              <a:spcBef>
                <a:spcPts val="600"/>
              </a:spcBef>
              <a:tabLst/>
              <a:defRPr lang="en-US" sz="2000">
                <a:solidFill>
                  <a:srgbClr val="FFFFFF"/>
                </a:solidFill>
                <a:latin typeface="Calibri Light"/>
                <a:ea typeface="+mn-ea"/>
                <a:cs typeface="+mn-cs"/>
              </a:defRPr>
            </a:lvl1pPr>
          </a:lstStyle>
          <a:p>
            <a:pPr marL="182558" lvl="0"/>
            <a:r>
              <a:rPr lang="en-US"/>
              <a:t>Click to edit Master text styles</a:t>
            </a:r>
          </a:p>
        </p:txBody>
      </p:sp>
      <p:sp>
        <p:nvSpPr>
          <p:cNvPr id="16" name="Title 1"/>
          <p:cNvSpPr>
            <a:spLocks noGrp="1"/>
          </p:cNvSpPr>
          <p:nvPr>
            <p:ph type="title"/>
          </p:nvPr>
        </p:nvSpPr>
        <p:spPr>
          <a:xfrm>
            <a:off x="587375" y="1"/>
            <a:ext cx="7596188" cy="872640"/>
          </a:xfrm>
          <a:prstGeom prst="rect">
            <a:avLst/>
          </a:prstGeom>
        </p:spPr>
        <p:txBody>
          <a:bodyPr lIns="68580" tIns="34290" rIns="68580" bIns="34290"/>
          <a:lstStyle>
            <a:lvl1pPr>
              <a:defRPr>
                <a:latin typeface="+mj-lt"/>
              </a:defRPr>
            </a:lvl1pPr>
          </a:lstStyle>
          <a:p>
            <a:r>
              <a:rPr lang="en-US" dirty="0"/>
              <a:t>Click to edit Master title style</a:t>
            </a:r>
          </a:p>
        </p:txBody>
      </p:sp>
      <p:sp>
        <p:nvSpPr>
          <p:cNvPr id="11" name="Text Placeholder 10"/>
          <p:cNvSpPr>
            <a:spLocks noGrp="1"/>
          </p:cNvSpPr>
          <p:nvPr>
            <p:ph type="body" sz="quarter" idx="14"/>
          </p:nvPr>
        </p:nvSpPr>
        <p:spPr>
          <a:xfrm>
            <a:off x="587377" y="1268413"/>
            <a:ext cx="7596505" cy="814843"/>
          </a:xfrm>
          <a:prstGeom prst="rect">
            <a:avLst/>
          </a:prstGeom>
        </p:spPr>
        <p:txBody>
          <a:bodyPr lIns="68580" tIns="34290" rIns="68580" bIns="34290" numCol="1" spcCol="270000"/>
          <a:lstStyle>
            <a:lvl1pPr>
              <a:lnSpc>
                <a:spcPct val="100000"/>
              </a:lnSpc>
              <a:spcBef>
                <a:spcPts val="600"/>
              </a:spcBef>
              <a:defRPr sz="2000">
                <a:solidFill>
                  <a:schemeClr val="accent5"/>
                </a:solidFill>
                <a:latin typeface="+mj-lt"/>
              </a:defRPr>
            </a:lvl1pPr>
            <a:lvl2pPr>
              <a:defRPr sz="1867">
                <a:latin typeface="+mj-lt"/>
              </a:defRPr>
            </a:lvl2pPr>
            <a:lvl3pPr>
              <a:defRPr sz="1867">
                <a:latin typeface="+mj-lt"/>
              </a:defRPr>
            </a:lvl3pPr>
            <a:lvl4pPr>
              <a:defRPr sz="1867">
                <a:latin typeface="+mj-lt"/>
              </a:defRPr>
            </a:lvl4pPr>
            <a:lvl5pPr>
              <a:defRPr sz="1867">
                <a:latin typeface="+mj-lt"/>
              </a:defRPr>
            </a:lvl5pPr>
          </a:lstStyle>
          <a:p>
            <a:pPr lvl="0"/>
            <a:r>
              <a:rPr lang="en-US"/>
              <a:t>Click to edit Master text styles</a:t>
            </a:r>
          </a:p>
        </p:txBody>
      </p:sp>
      <p:sp>
        <p:nvSpPr>
          <p:cNvPr id="9" name="Picture Placeholder 3"/>
          <p:cNvSpPr>
            <a:spLocks noGrp="1"/>
          </p:cNvSpPr>
          <p:nvPr>
            <p:ph type="pic" sz="quarter" idx="72" hasCustomPrompt="1"/>
          </p:nvPr>
        </p:nvSpPr>
        <p:spPr>
          <a:xfrm>
            <a:off x="8799522" y="1268413"/>
            <a:ext cx="812479" cy="814843"/>
          </a:xfrm>
          <a:prstGeom prst="rect">
            <a:avLst/>
          </a:prstGeom>
        </p:spPr>
        <p:txBody>
          <a:bodyPr lIns="68580" tIns="34290" rIns="68580" bIns="34290" anchor="ctr"/>
          <a:lstStyle>
            <a:lvl1pPr algn="ctr">
              <a:defRPr sz="1467" i="1">
                <a:solidFill>
                  <a:schemeClr val="bg1"/>
                </a:solidFill>
              </a:defRPr>
            </a:lvl1pPr>
          </a:lstStyle>
          <a:p>
            <a:r>
              <a:rPr lang="ru-RU" dirty="0"/>
              <a:t>иконка</a:t>
            </a:r>
            <a:endParaRPr lang="en-US" dirty="0"/>
          </a:p>
        </p:txBody>
      </p:sp>
      <p:sp>
        <p:nvSpPr>
          <p:cNvPr id="3" name="Text Placeholder 2"/>
          <p:cNvSpPr>
            <a:spLocks noGrp="1"/>
          </p:cNvSpPr>
          <p:nvPr>
            <p:ph type="body" sz="quarter" idx="73"/>
          </p:nvPr>
        </p:nvSpPr>
        <p:spPr>
          <a:xfrm>
            <a:off x="587375" y="2827091"/>
            <a:ext cx="7596188" cy="3338760"/>
          </a:xfrm>
          <a:prstGeom prst="rect">
            <a:avLst/>
          </a:prstGeom>
        </p:spPr>
        <p:txBody>
          <a:bodyPr lIns="68580" tIns="34290" rIns="68580" bIns="34290"/>
          <a:lstStyle>
            <a:lvl1pPr marL="177796" indent="-177796">
              <a:spcBef>
                <a:spcPts val="400"/>
              </a:spcBef>
              <a:buFont typeface="Wingdings" charset="2"/>
              <a:buChar char="§"/>
              <a:tabLst/>
              <a:defRPr sz="1600">
                <a:latin typeface="+mj-lt"/>
              </a:defRPr>
            </a:lvl1pPr>
          </a:lstStyle>
          <a:p>
            <a:pPr lvl="0"/>
            <a:r>
              <a:rPr lang="en-US" dirty="0"/>
              <a:t>Click to edit Master text styles</a:t>
            </a:r>
          </a:p>
        </p:txBody>
      </p:sp>
      <p:sp>
        <p:nvSpPr>
          <p:cNvPr id="2" name="Rectangle 1"/>
          <p:cNvSpPr/>
          <p:nvPr userDrawn="1"/>
        </p:nvSpPr>
        <p:spPr>
          <a:xfrm>
            <a:off x="8509001" y="0"/>
            <a:ext cx="3683001" cy="864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914377"/>
            <a:endParaRPr lang="en-US" sz="1867" dirty="0">
              <a:solidFill>
                <a:srgbClr val="FFFFFF"/>
              </a:solidFill>
            </a:endParaRPr>
          </a:p>
        </p:txBody>
      </p:sp>
      <p:sp>
        <p:nvSpPr>
          <p:cNvPr id="15" name="Shape"/>
          <p:cNvSpPr/>
          <p:nvPr userDrawn="1"/>
        </p:nvSpPr>
        <p:spPr>
          <a:xfrm>
            <a:off x="9991115" y="286073"/>
            <a:ext cx="1505560" cy="283355"/>
          </a:xfrm>
          <a:custGeom>
            <a:avLst/>
            <a:gdLst/>
            <a:ahLst/>
            <a:cxnLst>
              <a:cxn ang="0">
                <a:pos x="wd2" y="hd2"/>
              </a:cxn>
              <a:cxn ang="5400000">
                <a:pos x="wd2" y="hd2"/>
              </a:cxn>
              <a:cxn ang="10800000">
                <a:pos x="wd2" y="hd2"/>
              </a:cxn>
              <a:cxn ang="16200000">
                <a:pos x="wd2" y="hd2"/>
              </a:cxn>
            </a:cxnLst>
            <a:rect l="0" t="0" r="r" b="b"/>
            <a:pathLst>
              <a:path w="21600" h="21600" extrusionOk="0">
                <a:moveTo>
                  <a:pt x="2936" y="0"/>
                </a:moveTo>
                <a:lnTo>
                  <a:pt x="1286" y="5042"/>
                </a:lnTo>
                <a:lnTo>
                  <a:pt x="551" y="2798"/>
                </a:lnTo>
                <a:cubicBezTo>
                  <a:pt x="499" y="3104"/>
                  <a:pt x="449" y="3428"/>
                  <a:pt x="403" y="3762"/>
                </a:cubicBezTo>
                <a:cubicBezTo>
                  <a:pt x="403" y="3762"/>
                  <a:pt x="1286" y="6458"/>
                  <a:pt x="1286" y="6458"/>
                </a:cubicBezTo>
                <a:lnTo>
                  <a:pt x="3183" y="659"/>
                </a:lnTo>
                <a:cubicBezTo>
                  <a:pt x="3104" y="413"/>
                  <a:pt x="3022" y="191"/>
                  <a:pt x="2936" y="0"/>
                </a:cubicBezTo>
                <a:close/>
                <a:moveTo>
                  <a:pt x="3397" y="1421"/>
                </a:moveTo>
                <a:lnTo>
                  <a:pt x="1286" y="7874"/>
                </a:lnTo>
                <a:lnTo>
                  <a:pt x="277" y="4790"/>
                </a:lnTo>
                <a:cubicBezTo>
                  <a:pt x="239" y="5144"/>
                  <a:pt x="205" y="5514"/>
                  <a:pt x="174" y="5891"/>
                </a:cubicBezTo>
                <a:lnTo>
                  <a:pt x="1286" y="9285"/>
                </a:lnTo>
                <a:cubicBezTo>
                  <a:pt x="1286" y="9285"/>
                  <a:pt x="3583" y="2264"/>
                  <a:pt x="3583" y="2264"/>
                </a:cubicBezTo>
                <a:cubicBezTo>
                  <a:pt x="3524" y="1964"/>
                  <a:pt x="3462" y="1684"/>
                  <a:pt x="3397" y="1421"/>
                </a:cubicBezTo>
                <a:close/>
                <a:moveTo>
                  <a:pt x="6427" y="2793"/>
                </a:moveTo>
                <a:cubicBezTo>
                  <a:pt x="5648" y="2793"/>
                  <a:pt x="5344" y="5127"/>
                  <a:pt x="5344" y="8979"/>
                </a:cubicBezTo>
                <a:cubicBezTo>
                  <a:pt x="5344" y="12999"/>
                  <a:pt x="5724" y="14870"/>
                  <a:pt x="6383" y="14870"/>
                </a:cubicBezTo>
                <a:cubicBezTo>
                  <a:pt x="6662" y="14870"/>
                  <a:pt x="6932" y="14483"/>
                  <a:pt x="7133" y="13799"/>
                </a:cubicBezTo>
                <a:lnTo>
                  <a:pt x="7064" y="13101"/>
                </a:lnTo>
                <a:cubicBezTo>
                  <a:pt x="6932" y="13451"/>
                  <a:pt x="6772" y="13784"/>
                  <a:pt x="6514" y="13784"/>
                </a:cubicBezTo>
                <a:cubicBezTo>
                  <a:pt x="5971" y="13784"/>
                  <a:pt x="5856" y="11550"/>
                  <a:pt x="5856" y="8548"/>
                </a:cubicBezTo>
                <a:cubicBezTo>
                  <a:pt x="5856" y="5396"/>
                  <a:pt x="5975" y="3559"/>
                  <a:pt x="6442" y="3559"/>
                </a:cubicBezTo>
                <a:cubicBezTo>
                  <a:pt x="6741" y="3559"/>
                  <a:pt x="6837" y="4161"/>
                  <a:pt x="6888" y="5028"/>
                </a:cubicBezTo>
                <a:lnTo>
                  <a:pt x="6926" y="5760"/>
                </a:lnTo>
                <a:lnTo>
                  <a:pt x="7066" y="5760"/>
                </a:lnTo>
                <a:cubicBezTo>
                  <a:pt x="7060" y="4976"/>
                  <a:pt x="7060" y="4110"/>
                  <a:pt x="7066" y="3326"/>
                </a:cubicBezTo>
                <a:cubicBezTo>
                  <a:pt x="7004" y="3193"/>
                  <a:pt x="6772" y="2793"/>
                  <a:pt x="6427" y="2793"/>
                </a:cubicBezTo>
                <a:close/>
                <a:moveTo>
                  <a:pt x="7330" y="2992"/>
                </a:moveTo>
                <a:lnTo>
                  <a:pt x="7330" y="3360"/>
                </a:lnTo>
                <a:cubicBezTo>
                  <a:pt x="7440" y="3493"/>
                  <a:pt x="7456" y="3662"/>
                  <a:pt x="7456" y="4296"/>
                </a:cubicBezTo>
                <a:lnTo>
                  <a:pt x="7456" y="13367"/>
                </a:lnTo>
                <a:cubicBezTo>
                  <a:pt x="7456" y="14001"/>
                  <a:pt x="7440" y="14170"/>
                  <a:pt x="7330" y="14303"/>
                </a:cubicBezTo>
                <a:lnTo>
                  <a:pt x="7330" y="14667"/>
                </a:lnTo>
                <a:lnTo>
                  <a:pt x="8210" y="14667"/>
                </a:lnTo>
                <a:cubicBezTo>
                  <a:pt x="8747" y="14667"/>
                  <a:pt x="9079" y="13899"/>
                  <a:pt x="9079" y="10764"/>
                </a:cubicBezTo>
                <a:cubicBezTo>
                  <a:pt x="9079" y="7545"/>
                  <a:pt x="8652" y="7181"/>
                  <a:pt x="8049" y="7181"/>
                </a:cubicBezTo>
                <a:lnTo>
                  <a:pt x="7927" y="7181"/>
                </a:lnTo>
                <a:lnTo>
                  <a:pt x="7927" y="4412"/>
                </a:lnTo>
                <a:cubicBezTo>
                  <a:pt x="7927" y="3912"/>
                  <a:pt x="7946" y="3728"/>
                  <a:pt x="8084" y="3728"/>
                </a:cubicBezTo>
                <a:cubicBezTo>
                  <a:pt x="8084" y="3728"/>
                  <a:pt x="8385" y="3728"/>
                  <a:pt x="8385" y="3728"/>
                </a:cubicBezTo>
                <a:cubicBezTo>
                  <a:pt x="8671" y="3728"/>
                  <a:pt x="8749" y="3842"/>
                  <a:pt x="8818" y="5042"/>
                </a:cubicBezTo>
                <a:lnTo>
                  <a:pt x="8847" y="5527"/>
                </a:lnTo>
                <a:lnTo>
                  <a:pt x="8966" y="5527"/>
                </a:lnTo>
                <a:cubicBezTo>
                  <a:pt x="8960" y="4677"/>
                  <a:pt x="8960" y="3842"/>
                  <a:pt x="8966" y="2992"/>
                </a:cubicBezTo>
                <a:lnTo>
                  <a:pt x="7330" y="2992"/>
                </a:lnTo>
                <a:close/>
                <a:moveTo>
                  <a:pt x="9327" y="2992"/>
                </a:moveTo>
                <a:lnTo>
                  <a:pt x="9327" y="3360"/>
                </a:lnTo>
                <a:cubicBezTo>
                  <a:pt x="9437" y="3493"/>
                  <a:pt x="9453" y="3662"/>
                  <a:pt x="9453" y="4296"/>
                </a:cubicBezTo>
                <a:lnTo>
                  <a:pt x="9453" y="13367"/>
                </a:lnTo>
                <a:cubicBezTo>
                  <a:pt x="9453" y="14001"/>
                  <a:pt x="9437" y="14170"/>
                  <a:pt x="9327" y="14303"/>
                </a:cubicBezTo>
                <a:lnTo>
                  <a:pt x="9327" y="14667"/>
                </a:lnTo>
                <a:lnTo>
                  <a:pt x="10909" y="14667"/>
                </a:lnTo>
                <a:cubicBezTo>
                  <a:pt x="10903" y="13766"/>
                  <a:pt x="10903" y="12852"/>
                  <a:pt x="10909" y="11952"/>
                </a:cubicBezTo>
                <a:lnTo>
                  <a:pt x="10771" y="11952"/>
                </a:lnTo>
                <a:lnTo>
                  <a:pt x="10752" y="12383"/>
                </a:lnTo>
                <a:cubicBezTo>
                  <a:pt x="10689" y="13834"/>
                  <a:pt x="10614" y="13935"/>
                  <a:pt x="10329" y="13935"/>
                </a:cubicBezTo>
                <a:lnTo>
                  <a:pt x="10266" y="13935"/>
                </a:lnTo>
                <a:cubicBezTo>
                  <a:pt x="9977" y="13935"/>
                  <a:pt x="9924" y="13699"/>
                  <a:pt x="9924" y="12999"/>
                </a:cubicBezTo>
                <a:lnTo>
                  <a:pt x="9924" y="8645"/>
                </a:lnTo>
                <a:lnTo>
                  <a:pt x="10216" y="8645"/>
                </a:lnTo>
                <a:cubicBezTo>
                  <a:pt x="10338" y="8645"/>
                  <a:pt x="10529" y="8715"/>
                  <a:pt x="10604" y="8999"/>
                </a:cubicBezTo>
                <a:lnTo>
                  <a:pt x="10604" y="7530"/>
                </a:lnTo>
                <a:cubicBezTo>
                  <a:pt x="10529" y="7813"/>
                  <a:pt x="10338" y="7879"/>
                  <a:pt x="10216" y="7879"/>
                </a:cubicBezTo>
                <a:lnTo>
                  <a:pt x="9924" y="7879"/>
                </a:lnTo>
                <a:lnTo>
                  <a:pt x="9924" y="4262"/>
                </a:lnTo>
                <a:cubicBezTo>
                  <a:pt x="9924" y="3862"/>
                  <a:pt x="9939" y="3728"/>
                  <a:pt x="10033" y="3728"/>
                </a:cubicBezTo>
                <a:cubicBezTo>
                  <a:pt x="10033" y="3728"/>
                  <a:pt x="10279" y="3728"/>
                  <a:pt x="10279" y="3728"/>
                </a:cubicBezTo>
                <a:cubicBezTo>
                  <a:pt x="10564" y="3728"/>
                  <a:pt x="10642" y="3842"/>
                  <a:pt x="10711" y="5042"/>
                </a:cubicBezTo>
                <a:lnTo>
                  <a:pt x="10739" y="5527"/>
                </a:lnTo>
                <a:lnTo>
                  <a:pt x="10859" y="5527"/>
                </a:lnTo>
                <a:cubicBezTo>
                  <a:pt x="10853" y="4677"/>
                  <a:pt x="10853" y="3842"/>
                  <a:pt x="10859" y="2992"/>
                </a:cubicBezTo>
                <a:lnTo>
                  <a:pt x="9327" y="2992"/>
                </a:lnTo>
                <a:close/>
                <a:moveTo>
                  <a:pt x="11192" y="2992"/>
                </a:moveTo>
                <a:lnTo>
                  <a:pt x="11192" y="3360"/>
                </a:lnTo>
                <a:cubicBezTo>
                  <a:pt x="11302" y="3493"/>
                  <a:pt x="11317" y="3662"/>
                  <a:pt x="11317" y="4296"/>
                </a:cubicBezTo>
                <a:lnTo>
                  <a:pt x="11317" y="13367"/>
                </a:lnTo>
                <a:cubicBezTo>
                  <a:pt x="11317" y="14001"/>
                  <a:pt x="11302" y="14170"/>
                  <a:pt x="11192" y="14303"/>
                </a:cubicBezTo>
                <a:lnTo>
                  <a:pt x="11192" y="14667"/>
                </a:lnTo>
                <a:cubicBezTo>
                  <a:pt x="11192" y="14667"/>
                  <a:pt x="11914" y="14667"/>
                  <a:pt x="11914" y="14667"/>
                </a:cubicBezTo>
                <a:lnTo>
                  <a:pt x="11914" y="14303"/>
                </a:lnTo>
                <a:cubicBezTo>
                  <a:pt x="11804" y="14170"/>
                  <a:pt x="11788" y="14001"/>
                  <a:pt x="11788" y="13367"/>
                </a:cubicBezTo>
                <a:lnTo>
                  <a:pt x="11788" y="10046"/>
                </a:lnTo>
                <a:lnTo>
                  <a:pt x="12008" y="10046"/>
                </a:lnTo>
                <a:cubicBezTo>
                  <a:pt x="12538" y="10046"/>
                  <a:pt x="12865" y="9199"/>
                  <a:pt x="12865" y="6347"/>
                </a:cubicBezTo>
                <a:cubicBezTo>
                  <a:pt x="12865" y="3545"/>
                  <a:pt x="12538" y="2992"/>
                  <a:pt x="12102" y="2992"/>
                </a:cubicBezTo>
                <a:lnTo>
                  <a:pt x="11192" y="2992"/>
                </a:lnTo>
                <a:close/>
                <a:moveTo>
                  <a:pt x="13063" y="2992"/>
                </a:moveTo>
                <a:lnTo>
                  <a:pt x="13063" y="3360"/>
                </a:lnTo>
                <a:cubicBezTo>
                  <a:pt x="13172" y="3493"/>
                  <a:pt x="13188" y="3662"/>
                  <a:pt x="13188" y="4296"/>
                </a:cubicBezTo>
                <a:lnTo>
                  <a:pt x="13188" y="13367"/>
                </a:lnTo>
                <a:cubicBezTo>
                  <a:pt x="13188" y="14001"/>
                  <a:pt x="13172" y="14170"/>
                  <a:pt x="13063" y="14303"/>
                </a:cubicBezTo>
                <a:lnTo>
                  <a:pt x="13063" y="14667"/>
                </a:lnTo>
                <a:lnTo>
                  <a:pt x="13941" y="14667"/>
                </a:lnTo>
                <a:cubicBezTo>
                  <a:pt x="14478" y="14667"/>
                  <a:pt x="14811" y="13899"/>
                  <a:pt x="14811" y="10764"/>
                </a:cubicBezTo>
                <a:cubicBezTo>
                  <a:pt x="14811" y="7545"/>
                  <a:pt x="14384" y="7181"/>
                  <a:pt x="13782" y="7181"/>
                </a:cubicBezTo>
                <a:lnTo>
                  <a:pt x="13658" y="7181"/>
                </a:lnTo>
                <a:lnTo>
                  <a:pt x="13658" y="4412"/>
                </a:lnTo>
                <a:cubicBezTo>
                  <a:pt x="13658" y="3912"/>
                  <a:pt x="13677" y="3728"/>
                  <a:pt x="13815" y="3728"/>
                </a:cubicBezTo>
                <a:cubicBezTo>
                  <a:pt x="13815" y="3728"/>
                  <a:pt x="14117" y="3728"/>
                  <a:pt x="14117" y="3728"/>
                </a:cubicBezTo>
                <a:cubicBezTo>
                  <a:pt x="14403" y="3728"/>
                  <a:pt x="14481" y="3842"/>
                  <a:pt x="14550" y="5042"/>
                </a:cubicBezTo>
                <a:lnTo>
                  <a:pt x="14578" y="5527"/>
                </a:lnTo>
                <a:lnTo>
                  <a:pt x="14698" y="5527"/>
                </a:lnTo>
                <a:cubicBezTo>
                  <a:pt x="14692" y="4677"/>
                  <a:pt x="14692" y="3842"/>
                  <a:pt x="14698" y="2992"/>
                </a:cubicBezTo>
                <a:lnTo>
                  <a:pt x="13063" y="2992"/>
                </a:lnTo>
                <a:close/>
                <a:moveTo>
                  <a:pt x="15564" y="2992"/>
                </a:moveTo>
                <a:lnTo>
                  <a:pt x="15564" y="3360"/>
                </a:lnTo>
                <a:cubicBezTo>
                  <a:pt x="15677" y="3493"/>
                  <a:pt x="15690" y="3810"/>
                  <a:pt x="15690" y="4044"/>
                </a:cubicBezTo>
                <a:cubicBezTo>
                  <a:pt x="15690" y="4377"/>
                  <a:pt x="15674" y="4746"/>
                  <a:pt x="15583" y="5930"/>
                </a:cubicBezTo>
                <a:lnTo>
                  <a:pt x="15178" y="11234"/>
                </a:lnTo>
                <a:cubicBezTo>
                  <a:pt x="15027" y="13185"/>
                  <a:pt x="14927" y="14216"/>
                  <a:pt x="14874" y="14667"/>
                </a:cubicBezTo>
                <a:lnTo>
                  <a:pt x="15273" y="14667"/>
                </a:lnTo>
                <a:cubicBezTo>
                  <a:pt x="15276" y="14400"/>
                  <a:pt x="15294" y="13898"/>
                  <a:pt x="15319" y="13232"/>
                </a:cubicBezTo>
                <a:cubicBezTo>
                  <a:pt x="15347" y="12564"/>
                  <a:pt x="15401" y="11616"/>
                  <a:pt x="15473" y="10448"/>
                </a:cubicBezTo>
                <a:lnTo>
                  <a:pt x="16170" y="10448"/>
                </a:lnTo>
                <a:lnTo>
                  <a:pt x="16265" y="11932"/>
                </a:lnTo>
                <a:cubicBezTo>
                  <a:pt x="16324" y="12866"/>
                  <a:pt x="16393" y="14033"/>
                  <a:pt x="16411" y="14667"/>
                </a:cubicBezTo>
                <a:cubicBezTo>
                  <a:pt x="16411" y="14667"/>
                  <a:pt x="16971" y="14667"/>
                  <a:pt x="16971" y="14667"/>
                </a:cubicBezTo>
                <a:cubicBezTo>
                  <a:pt x="16924" y="14250"/>
                  <a:pt x="16826" y="13082"/>
                  <a:pt x="16735" y="11714"/>
                </a:cubicBezTo>
                <a:lnTo>
                  <a:pt x="16274" y="4727"/>
                </a:lnTo>
                <a:cubicBezTo>
                  <a:pt x="16208" y="3743"/>
                  <a:pt x="16201" y="3342"/>
                  <a:pt x="16192" y="2992"/>
                </a:cubicBezTo>
                <a:lnTo>
                  <a:pt x="15564" y="2992"/>
                </a:lnTo>
                <a:close/>
                <a:moveTo>
                  <a:pt x="17140" y="2992"/>
                </a:moveTo>
                <a:lnTo>
                  <a:pt x="17140" y="3360"/>
                </a:lnTo>
                <a:cubicBezTo>
                  <a:pt x="17250" y="3493"/>
                  <a:pt x="17266" y="3662"/>
                  <a:pt x="17266" y="4296"/>
                </a:cubicBezTo>
                <a:lnTo>
                  <a:pt x="17266" y="13367"/>
                </a:lnTo>
                <a:cubicBezTo>
                  <a:pt x="17266" y="14001"/>
                  <a:pt x="17250" y="14170"/>
                  <a:pt x="17140" y="14303"/>
                </a:cubicBezTo>
                <a:lnTo>
                  <a:pt x="17140" y="14667"/>
                </a:lnTo>
                <a:lnTo>
                  <a:pt x="17861" y="14667"/>
                </a:lnTo>
                <a:lnTo>
                  <a:pt x="17861" y="14303"/>
                </a:lnTo>
                <a:cubicBezTo>
                  <a:pt x="17752" y="14170"/>
                  <a:pt x="17736" y="14001"/>
                  <a:pt x="17736" y="13367"/>
                </a:cubicBezTo>
                <a:lnTo>
                  <a:pt x="17736" y="8645"/>
                </a:lnTo>
                <a:lnTo>
                  <a:pt x="18584" y="8645"/>
                </a:lnTo>
                <a:cubicBezTo>
                  <a:pt x="18584" y="8645"/>
                  <a:pt x="18584" y="13367"/>
                  <a:pt x="18584" y="13367"/>
                </a:cubicBezTo>
                <a:cubicBezTo>
                  <a:pt x="18584" y="14001"/>
                  <a:pt x="18568" y="14170"/>
                  <a:pt x="18458" y="14303"/>
                </a:cubicBezTo>
                <a:lnTo>
                  <a:pt x="18458" y="14667"/>
                </a:lnTo>
                <a:lnTo>
                  <a:pt x="19180" y="14667"/>
                </a:lnTo>
                <a:lnTo>
                  <a:pt x="19180" y="14303"/>
                </a:lnTo>
                <a:cubicBezTo>
                  <a:pt x="19070" y="14170"/>
                  <a:pt x="19055" y="14001"/>
                  <a:pt x="19055" y="13367"/>
                </a:cubicBezTo>
                <a:lnTo>
                  <a:pt x="19055" y="4296"/>
                </a:lnTo>
                <a:cubicBezTo>
                  <a:pt x="19055" y="3662"/>
                  <a:pt x="19070" y="3493"/>
                  <a:pt x="19180" y="3360"/>
                </a:cubicBezTo>
                <a:lnTo>
                  <a:pt x="19180" y="2992"/>
                </a:lnTo>
                <a:lnTo>
                  <a:pt x="18458" y="2992"/>
                </a:lnTo>
                <a:lnTo>
                  <a:pt x="18458" y="3360"/>
                </a:lnTo>
                <a:cubicBezTo>
                  <a:pt x="18568" y="3493"/>
                  <a:pt x="18584" y="3662"/>
                  <a:pt x="18584" y="4296"/>
                </a:cubicBezTo>
                <a:lnTo>
                  <a:pt x="18584" y="7879"/>
                </a:lnTo>
                <a:lnTo>
                  <a:pt x="17736" y="7879"/>
                </a:lnTo>
                <a:lnTo>
                  <a:pt x="17736" y="4296"/>
                </a:lnTo>
                <a:cubicBezTo>
                  <a:pt x="17736" y="3662"/>
                  <a:pt x="17752" y="3493"/>
                  <a:pt x="17861" y="3360"/>
                </a:cubicBezTo>
                <a:lnTo>
                  <a:pt x="17861" y="2992"/>
                </a:lnTo>
                <a:lnTo>
                  <a:pt x="17140" y="2992"/>
                </a:lnTo>
                <a:close/>
                <a:moveTo>
                  <a:pt x="19529" y="2992"/>
                </a:moveTo>
                <a:lnTo>
                  <a:pt x="19529" y="3360"/>
                </a:lnTo>
                <a:cubicBezTo>
                  <a:pt x="19638" y="3493"/>
                  <a:pt x="19655" y="3662"/>
                  <a:pt x="19655" y="4296"/>
                </a:cubicBezTo>
                <a:cubicBezTo>
                  <a:pt x="19655" y="4296"/>
                  <a:pt x="19655" y="13367"/>
                  <a:pt x="19655" y="13367"/>
                </a:cubicBezTo>
                <a:cubicBezTo>
                  <a:pt x="19655" y="14001"/>
                  <a:pt x="19638" y="14170"/>
                  <a:pt x="19529" y="14303"/>
                </a:cubicBezTo>
                <a:lnTo>
                  <a:pt x="19529" y="14667"/>
                </a:lnTo>
                <a:lnTo>
                  <a:pt x="20250" y="14667"/>
                </a:lnTo>
                <a:lnTo>
                  <a:pt x="20250" y="14303"/>
                </a:lnTo>
                <a:cubicBezTo>
                  <a:pt x="20141" y="14170"/>
                  <a:pt x="20125" y="14001"/>
                  <a:pt x="20125" y="13367"/>
                </a:cubicBezTo>
                <a:lnTo>
                  <a:pt x="20125" y="4296"/>
                </a:lnTo>
                <a:cubicBezTo>
                  <a:pt x="20125" y="3662"/>
                  <a:pt x="20141" y="3493"/>
                  <a:pt x="20250" y="3360"/>
                </a:cubicBezTo>
                <a:lnTo>
                  <a:pt x="20250" y="2992"/>
                </a:lnTo>
                <a:lnTo>
                  <a:pt x="19529" y="2992"/>
                </a:lnTo>
                <a:close/>
                <a:moveTo>
                  <a:pt x="20906" y="2992"/>
                </a:moveTo>
                <a:cubicBezTo>
                  <a:pt x="20847" y="3792"/>
                  <a:pt x="20624" y="5376"/>
                  <a:pt x="20451" y="6560"/>
                </a:cubicBezTo>
                <a:lnTo>
                  <a:pt x="20163" y="8548"/>
                </a:lnTo>
                <a:lnTo>
                  <a:pt x="20496" y="11200"/>
                </a:lnTo>
                <a:cubicBezTo>
                  <a:pt x="20725" y="13035"/>
                  <a:pt x="20803" y="14050"/>
                  <a:pt x="20856" y="14667"/>
                </a:cubicBezTo>
                <a:lnTo>
                  <a:pt x="21595" y="14667"/>
                </a:lnTo>
                <a:cubicBezTo>
                  <a:pt x="21334" y="13266"/>
                  <a:pt x="20975" y="10698"/>
                  <a:pt x="20822" y="9547"/>
                </a:cubicBezTo>
                <a:cubicBezTo>
                  <a:pt x="20822" y="9547"/>
                  <a:pt x="20536" y="7394"/>
                  <a:pt x="20536" y="7394"/>
                </a:cubicBezTo>
                <a:lnTo>
                  <a:pt x="20765" y="6095"/>
                </a:lnTo>
                <a:cubicBezTo>
                  <a:pt x="20866" y="5511"/>
                  <a:pt x="21214" y="3645"/>
                  <a:pt x="21421" y="3011"/>
                </a:cubicBezTo>
                <a:lnTo>
                  <a:pt x="21421" y="2992"/>
                </a:lnTo>
                <a:lnTo>
                  <a:pt x="20906" y="2992"/>
                </a:lnTo>
                <a:close/>
                <a:moveTo>
                  <a:pt x="3744" y="3185"/>
                </a:moveTo>
                <a:cubicBezTo>
                  <a:pt x="3744" y="3185"/>
                  <a:pt x="1286" y="10701"/>
                  <a:pt x="1286" y="10701"/>
                </a:cubicBezTo>
                <a:lnTo>
                  <a:pt x="93" y="7055"/>
                </a:lnTo>
                <a:cubicBezTo>
                  <a:pt x="70" y="7458"/>
                  <a:pt x="50" y="7874"/>
                  <a:pt x="36" y="8296"/>
                </a:cubicBezTo>
                <a:lnTo>
                  <a:pt x="1286" y="12112"/>
                </a:lnTo>
                <a:lnTo>
                  <a:pt x="3882" y="4179"/>
                </a:lnTo>
                <a:cubicBezTo>
                  <a:pt x="3839" y="3835"/>
                  <a:pt x="3793" y="3502"/>
                  <a:pt x="3744" y="3185"/>
                </a:cubicBezTo>
                <a:close/>
                <a:moveTo>
                  <a:pt x="11926" y="3728"/>
                </a:moveTo>
                <a:lnTo>
                  <a:pt x="11977" y="3728"/>
                </a:lnTo>
                <a:cubicBezTo>
                  <a:pt x="12272" y="3728"/>
                  <a:pt x="12372" y="4710"/>
                  <a:pt x="12372" y="6245"/>
                </a:cubicBezTo>
                <a:cubicBezTo>
                  <a:pt x="12372" y="8063"/>
                  <a:pt x="12302" y="9314"/>
                  <a:pt x="12010" y="9314"/>
                </a:cubicBezTo>
                <a:cubicBezTo>
                  <a:pt x="12010" y="9314"/>
                  <a:pt x="11788" y="9314"/>
                  <a:pt x="11788" y="9314"/>
                </a:cubicBezTo>
                <a:lnTo>
                  <a:pt x="11788" y="4359"/>
                </a:lnTo>
                <a:cubicBezTo>
                  <a:pt x="11788" y="3808"/>
                  <a:pt x="11832" y="3728"/>
                  <a:pt x="11926" y="3728"/>
                </a:cubicBezTo>
                <a:close/>
                <a:moveTo>
                  <a:pt x="15827" y="4960"/>
                </a:moveTo>
                <a:lnTo>
                  <a:pt x="16123" y="9663"/>
                </a:lnTo>
                <a:cubicBezTo>
                  <a:pt x="16123" y="9663"/>
                  <a:pt x="15524" y="9663"/>
                  <a:pt x="15524" y="9663"/>
                </a:cubicBezTo>
                <a:lnTo>
                  <a:pt x="15827" y="4960"/>
                </a:lnTo>
                <a:close/>
                <a:moveTo>
                  <a:pt x="3999" y="5236"/>
                </a:moveTo>
                <a:lnTo>
                  <a:pt x="1286" y="13527"/>
                </a:lnTo>
                <a:lnTo>
                  <a:pt x="5" y="9615"/>
                </a:lnTo>
                <a:cubicBezTo>
                  <a:pt x="1" y="9862"/>
                  <a:pt x="0" y="10108"/>
                  <a:pt x="0" y="10361"/>
                </a:cubicBezTo>
                <a:cubicBezTo>
                  <a:pt x="0" y="16568"/>
                  <a:pt x="947" y="21600"/>
                  <a:pt x="2115" y="21600"/>
                </a:cubicBezTo>
                <a:cubicBezTo>
                  <a:pt x="3283" y="21600"/>
                  <a:pt x="4230" y="16568"/>
                  <a:pt x="4230" y="10361"/>
                </a:cubicBezTo>
                <a:cubicBezTo>
                  <a:pt x="4230" y="8514"/>
                  <a:pt x="4147" y="6773"/>
                  <a:pt x="3999" y="5236"/>
                </a:cubicBezTo>
                <a:close/>
                <a:moveTo>
                  <a:pt x="7927" y="7913"/>
                </a:moveTo>
                <a:lnTo>
                  <a:pt x="8119" y="7913"/>
                </a:lnTo>
                <a:cubicBezTo>
                  <a:pt x="8489" y="7913"/>
                  <a:pt x="8586" y="8979"/>
                  <a:pt x="8586" y="10880"/>
                </a:cubicBezTo>
                <a:cubicBezTo>
                  <a:pt x="8586" y="12915"/>
                  <a:pt x="8474" y="13935"/>
                  <a:pt x="8188" y="13935"/>
                </a:cubicBezTo>
                <a:cubicBezTo>
                  <a:pt x="8188" y="13935"/>
                  <a:pt x="8121" y="13935"/>
                  <a:pt x="8121" y="13935"/>
                </a:cubicBezTo>
                <a:cubicBezTo>
                  <a:pt x="7964" y="13935"/>
                  <a:pt x="7927" y="13667"/>
                  <a:pt x="7927" y="12916"/>
                </a:cubicBezTo>
                <a:lnTo>
                  <a:pt x="7927" y="7913"/>
                </a:lnTo>
                <a:close/>
                <a:moveTo>
                  <a:pt x="13658" y="7913"/>
                </a:moveTo>
                <a:lnTo>
                  <a:pt x="13850" y="7913"/>
                </a:lnTo>
                <a:cubicBezTo>
                  <a:pt x="14220" y="7913"/>
                  <a:pt x="14318" y="8979"/>
                  <a:pt x="14318" y="10880"/>
                </a:cubicBezTo>
                <a:cubicBezTo>
                  <a:pt x="14318" y="12915"/>
                  <a:pt x="14205" y="13935"/>
                  <a:pt x="13919" y="13935"/>
                </a:cubicBezTo>
                <a:cubicBezTo>
                  <a:pt x="13919" y="13935"/>
                  <a:pt x="13854" y="13935"/>
                  <a:pt x="13854" y="13935"/>
                </a:cubicBezTo>
                <a:cubicBezTo>
                  <a:pt x="13697" y="13935"/>
                  <a:pt x="13658" y="13667"/>
                  <a:pt x="13658" y="12916"/>
                </a:cubicBezTo>
                <a:lnTo>
                  <a:pt x="13658" y="7913"/>
                </a:lnTo>
                <a:close/>
                <a:moveTo>
                  <a:pt x="5519" y="17532"/>
                </a:moveTo>
                <a:lnTo>
                  <a:pt x="5519" y="18701"/>
                </a:lnTo>
                <a:lnTo>
                  <a:pt x="21600" y="18701"/>
                </a:lnTo>
                <a:cubicBezTo>
                  <a:pt x="21600" y="18701"/>
                  <a:pt x="21600" y="17532"/>
                  <a:pt x="21600" y="17532"/>
                </a:cubicBezTo>
                <a:lnTo>
                  <a:pt x="5519" y="17532"/>
                </a:lnTo>
                <a:close/>
              </a:path>
            </a:pathLst>
          </a:custGeom>
          <a:solidFill>
            <a:schemeClr val="bg1"/>
          </a:solidFill>
          <a:ln w="12700">
            <a:miter lim="400000"/>
          </a:ln>
        </p:spPr>
        <p:txBody>
          <a:bodyPr lIns="38100" tIns="38100" rIns="38100" bIns="38100" anchor="ctr"/>
          <a:lstStyle/>
          <a:p>
            <a:pPr defTabSz="914377">
              <a:defRPr sz="3000">
                <a:solidFill>
                  <a:srgbClr val="FFFFFF"/>
                </a:solidFill>
                <a:effectLst>
                  <a:outerShdw blurRad="38100" dist="12700" dir="5400000" rotWithShape="0">
                    <a:srgbClr val="000000">
                      <a:alpha val="50000"/>
                    </a:srgbClr>
                  </a:outerShdw>
                </a:effectLst>
              </a:defRPr>
            </a:pPr>
            <a:endParaRPr sz="4000" dirty="0">
              <a:solidFill>
                <a:srgbClr val="FFFFFF"/>
              </a:solidFill>
              <a:effectLst>
                <a:outerShdw blurRad="38100" dist="12700" dir="5400000" rotWithShape="0">
                  <a:srgbClr val="000000">
                    <a:alpha val="50000"/>
                  </a:srgbClr>
                </a:outerShdw>
              </a:effectLst>
            </a:endParaRPr>
          </a:p>
        </p:txBody>
      </p:sp>
    </p:spTree>
    <p:extLst>
      <p:ext uri="{BB962C8B-B14F-4D97-AF65-F5344CB8AC3E}">
        <p14:creationId xmlns:p14="http://schemas.microsoft.com/office/powerpoint/2010/main" val="410841751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ru-RU"/>
              <a:t>Образец заголовка</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a:t>Образец подзаголовка</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smtClean="0"/>
              <a:t>‹#›</a:t>
            </a:fld>
            <a:endParaRPr lang="en-US" dirty="0"/>
          </a:p>
        </p:txBody>
      </p:sp>
      <p:pic>
        <p:nvPicPr>
          <p:cNvPr id="8" name="Рисунок 7" descr="http://5A9FAA11343EC11A72E306E41DBDD243.dms.sberbank.ru/5A9FAA11343EC11A72E306E41DBDD243-A3706015402A346BAE2C7E4161CEDD42-402F2720EE24403459B26CFD8111A0E2/1.png"/>
          <p:cNvPicPr>
            <a:picLocks/>
          </p:cNvPicPr>
          <p:nvPr userDrawn="1"/>
        </p:nvPicPr>
        <p:blipFill>
          <a:blip r:link="rId2"/>
          <a:stretch>
            <a:fillRect/>
          </a:stretch>
        </p:blipFill>
        <p:spPr>
          <a:xfrm>
            <a:off x="0" y="0"/>
            <a:ext cx="1588" cy="1588"/>
          </a:xfrm>
          <a:prstGeom prst="rect">
            <a:avLst/>
          </a:prstGeom>
        </p:spPr>
      </p:pic>
      <p:pic>
        <p:nvPicPr>
          <p:cNvPr id="9" name="Рисунок 8" descr="http://5A9FAA11343EC11A72E306E41DBDD243.dms.sberbank.ru/5A9FAA11343EC11A72E306E41DBDD243-A3706015402A346BAE2C7E4161CEDD42-A43DBAE14D4A7BB44B4C51921CE89AF5/1.png"/>
          <p:cNvPicPr>
            <a:picLocks/>
          </p:cNvPicPr>
          <p:nvPr userDrawn="1"/>
        </p:nvPicPr>
        <p:blipFill>
          <a:blip r:link="rId3"/>
          <a:stretch>
            <a:fillRect/>
          </a:stretch>
        </p:blipFill>
        <p:spPr>
          <a:xfrm>
            <a:off x="0" y="0"/>
            <a:ext cx="1588" cy="1588"/>
          </a:xfrm>
          <a:prstGeom prst="rect">
            <a:avLst/>
          </a:prstGeom>
        </p:spPr>
      </p:pic>
    </p:spTree>
    <p:extLst>
      <p:ext uri="{BB962C8B-B14F-4D97-AF65-F5344CB8AC3E}">
        <p14:creationId xmlns:p14="http://schemas.microsoft.com/office/powerpoint/2010/main" val="2291325280"/>
      </p:ext>
    </p:extLst>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Образец заголовка</a:t>
            </a:r>
            <a:endParaRPr lang="en-US" dirty="0"/>
          </a:p>
        </p:txBody>
      </p:sp>
      <p:sp>
        <p:nvSpPr>
          <p:cNvPr id="3" name="Content Placeholder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smtClean="0"/>
              <a:t>‹#›</a:t>
            </a:fld>
            <a:endParaRPr lang="en-US" dirty="0"/>
          </a:p>
        </p:txBody>
      </p:sp>
      <p:pic>
        <p:nvPicPr>
          <p:cNvPr id="31" name="Рисунок 30" descr="http://5A9FAA11343EC11A72E306E41DBDD243.dms.sberbank.ru/5A9FAA11343EC11A72E306E41DBDD243-A3706015402A346BAE2C7E4161CEDD42-78B027483C7D8D513BF49F01B3104E69/1.png"/>
          <p:cNvPicPr>
            <a:picLocks/>
          </p:cNvPicPr>
          <p:nvPr userDrawn="1"/>
        </p:nvPicPr>
        <p:blipFill>
          <a:blip r:link="rId2"/>
          <a:stretch>
            <a:fillRect/>
          </a:stretch>
        </p:blipFill>
        <p:spPr>
          <a:xfrm>
            <a:off x="0" y="0"/>
            <a:ext cx="1588" cy="1588"/>
          </a:xfrm>
          <a:prstGeom prst="rect">
            <a:avLst/>
          </a:prstGeom>
        </p:spPr>
      </p:pic>
      <p:pic>
        <p:nvPicPr>
          <p:cNvPr id="32" name="Рисунок 31" descr="http://5A9FAA11343EC11A72E306E41DBDD243.dms.sberbank.ru/5A9FAA11343EC11A72E306E41DBDD243-A3706015402A346BAE2C7E4161CEDD42-78B027483C7D8D513BF49F01B3104E69/1.png"/>
          <p:cNvPicPr>
            <a:picLocks/>
          </p:cNvPicPr>
          <p:nvPr userDrawn="1"/>
        </p:nvPicPr>
        <p:blipFill>
          <a:blip r:link="rId2"/>
          <a:stretch>
            <a:fillRect/>
          </a:stretch>
        </p:blipFill>
        <p:spPr>
          <a:xfrm>
            <a:off x="0" y="0"/>
            <a:ext cx="1588" cy="1588"/>
          </a:xfrm>
          <a:prstGeom prst="rect">
            <a:avLst/>
          </a:prstGeom>
        </p:spPr>
      </p:pic>
    </p:spTree>
    <p:extLst>
      <p:ext uri="{BB962C8B-B14F-4D97-AF65-F5344CB8AC3E}">
        <p14:creationId xmlns:p14="http://schemas.microsoft.com/office/powerpoint/2010/main" val="3575296075"/>
      </p:ext>
    </p:extLst>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ru-RU"/>
              <a:t>Образец заголовка</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ru-RU"/>
              <a:t>Образец текста</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4014921039"/>
      </p:ext>
    </p:extLst>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Образец заголовка</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1348538792"/>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Заголовок и объект">
    <p:spTree>
      <p:nvGrpSpPr>
        <p:cNvPr id="1" name=""/>
        <p:cNvGrpSpPr/>
        <p:nvPr/>
      </p:nvGrpSpPr>
      <p:grpSpPr>
        <a:xfrm>
          <a:off x="0" y="0"/>
          <a:ext cx="0" cy="0"/>
          <a:chOff x="0" y="0"/>
          <a:chExt cx="0" cy="0"/>
        </a:xfrm>
      </p:grpSpPr>
      <p:sp>
        <p:nvSpPr>
          <p:cNvPr id="6" name="Номер слайда 5">
            <a:extLst>
              <a:ext uri="{FF2B5EF4-FFF2-40B4-BE49-F238E27FC236}">
                <a16:creationId xmlns:a16="http://schemas.microsoft.com/office/drawing/2014/main" id="{07C9C99F-1874-4DEC-9199-237D97772B1B}"/>
              </a:ext>
            </a:extLst>
          </p:cNvPr>
          <p:cNvSpPr>
            <a:spLocks noGrp="1"/>
          </p:cNvSpPr>
          <p:nvPr>
            <p:ph type="sldNum" sz="quarter" idx="12"/>
          </p:nvPr>
        </p:nvSpPr>
        <p:spPr>
          <a:xfrm>
            <a:off x="3257548" y="6126266"/>
            <a:ext cx="521496" cy="365125"/>
          </a:xfrm>
          <a:prstGeom prst="rect">
            <a:avLst/>
          </a:prstGeom>
        </p:spPr>
        <p:txBody>
          <a:bodyPr/>
          <a:lstStyle/>
          <a:p>
            <a:fld id="{054C8753-49EE-4AA4-B7F7-004F2534EA1E}" type="slidenum">
              <a:rPr lang="ru-RU" smtClean="0"/>
              <a:pPr/>
              <a:t>‹#›</a:t>
            </a:fld>
            <a:endParaRPr lang="ru-RU" dirty="0"/>
          </a:p>
        </p:txBody>
      </p:sp>
    </p:spTree>
    <p:extLst>
      <p:ext uri="{BB962C8B-B14F-4D97-AF65-F5344CB8AC3E}">
        <p14:creationId xmlns:p14="http://schemas.microsoft.com/office/powerpoint/2010/main" val="396113963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ru-RU"/>
              <a:t>Образец заголовка</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4" name="Content Placeholder 3"/>
          <p:cNvSpPr>
            <a:spLocks noGrp="1"/>
          </p:cNvSpPr>
          <p:nvPr>
            <p:ph sz="half" idx="2"/>
          </p:nvPr>
        </p:nvSpPr>
        <p:spPr>
          <a:xfrm>
            <a:off x="839788" y="2505075"/>
            <a:ext cx="5157787"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6" name="Content Placeholder 5"/>
          <p:cNvSpPr>
            <a:spLocks noGrp="1"/>
          </p:cNvSpPr>
          <p:nvPr>
            <p:ph sz="quarter" idx="4"/>
          </p:nvPr>
        </p:nvSpPr>
        <p:spPr>
          <a:xfrm>
            <a:off x="6172200" y="2505075"/>
            <a:ext cx="5183188"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7" name="Date Placeholder 6"/>
          <p:cNvSpPr>
            <a:spLocks noGrp="1"/>
          </p:cNvSpPr>
          <p:nvPr>
            <p:ph type="dt" sz="half" idx="10"/>
          </p:nvPr>
        </p:nvSpPr>
        <p:spPr/>
        <p:txBody>
          <a:bodyPr/>
          <a:lstStyle/>
          <a:p>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260299744"/>
      </p:ext>
    </p:extLst>
  </p:cSld>
  <p:clrMapOvr>
    <a:masterClrMapping/>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Образец заголовка</a:t>
            </a:r>
            <a:endParaRPr lang="en-US" dirty="0"/>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3760841981"/>
      </p:ext>
    </p:extLst>
  </p:cSld>
  <p:clrMapOvr>
    <a:masterClrMapping/>
  </p:clrMapOvr>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smtClean="0"/>
              <a:t>‹#›</a:t>
            </a:fld>
            <a:endParaRPr lang="en-US" dirty="0"/>
          </a:p>
        </p:txBody>
      </p:sp>
      <p:pic>
        <p:nvPicPr>
          <p:cNvPr id="1217" name="Рисунок 1216"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18" name="Рисунок 1217"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19" name="Рисунок 1218"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20" name="Рисунок 1219"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21" name="Рисунок 1220"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22" name="Рисунок 1221"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23" name="Рисунок 1222"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24" name="Рисунок 1223"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25" name="Рисунок 1224"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26" name="Рисунок 1225"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27" name="Рисунок 1226"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28" name="Рисунок 1227"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29" name="Рисунок 1228"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30" name="Рисунок 1229"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31" name="Рисунок 1230"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32" name="Рисунок 1231"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33" name="Рисунок 1232"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34" name="Рисунок 1233"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35" name="Рисунок 1234"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36" name="Рисунок 1235"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37" name="Рисунок 1236"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38" name="Рисунок 1237"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39" name="Рисунок 1238"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40" name="Рисунок 1239"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41" name="Рисунок 1240"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42" name="Рисунок 1241"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43" name="Рисунок 1242"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44" name="Рисунок 1243"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45" name="Рисунок 1244"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46" name="Рисунок 1245"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47" name="Рисунок 1246"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48" name="Рисунок 1247"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49" name="Рисунок 1248"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50" name="Рисунок 1249"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51" name="Рисунок 1250"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52" name="Рисунок 1251"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53" name="Рисунок 1252"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54" name="Рисунок 1253"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55" name="Рисунок 1254"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56" name="Рисунок 1255"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57" name="Рисунок 1256"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58" name="Рисунок 1257"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59" name="Рисунок 1258"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60" name="Рисунок 1259"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61" name="Рисунок 1260"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62" name="Рисунок 1261"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spTree>
    <p:extLst>
      <p:ext uri="{BB962C8B-B14F-4D97-AF65-F5344CB8AC3E}">
        <p14:creationId xmlns:p14="http://schemas.microsoft.com/office/powerpoint/2010/main" val="388796778"/>
      </p:ext>
    </p:extLst>
  </p:cSld>
  <p:clrMapOvr>
    <a:masterClrMapping/>
  </p:clrMapOvr>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ru-RU"/>
              <a:t>Образец заголовка</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2615768466"/>
      </p:ext>
    </p:extLst>
  </p:cSld>
  <p:clrMapOvr>
    <a:masterClrMapping/>
  </p:clrMapOvr>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ru-RU"/>
              <a:t>Образец заголовка</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ru-RU" dirty="0"/>
              <a:t>Вставка рисунка</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3303200637"/>
      </p:ext>
    </p:extLst>
  </p:cSld>
  <p:clrMapOvr>
    <a:masterClrMapping/>
  </p:clrMapOvr>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Образец заголовка</a:t>
            </a:r>
            <a:endParaRPr lang="en-US" dirty="0"/>
          </a:p>
        </p:txBody>
      </p:sp>
      <p:sp>
        <p:nvSpPr>
          <p:cNvPr id="3" name="Vertical Text Placeholder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3177497437"/>
      </p:ext>
    </p:extLst>
  </p:cSld>
  <p:clrMapOvr>
    <a:masterClrMapping/>
  </p:clrMapOvr>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ru-RU"/>
              <a:t>Образец заголовка</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1415263377"/>
      </p:ext>
    </p:extLst>
  </p:cSld>
  <p:clrMapOvr>
    <a:masterClrMapping/>
  </p:clrMapOvr>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Пользовательский макет">
    <p:spTree>
      <p:nvGrpSpPr>
        <p:cNvPr id="1" name=""/>
        <p:cNvGrpSpPr/>
        <p:nvPr/>
      </p:nvGrpSpPr>
      <p:grpSpPr>
        <a:xfrm>
          <a:off x="0" y="0"/>
          <a:ext cx="0" cy="0"/>
          <a:chOff x="0" y="0"/>
          <a:chExt cx="0" cy="0"/>
        </a:xfrm>
      </p:grpSpPr>
      <p:graphicFrame>
        <p:nvGraphicFramePr>
          <p:cNvPr id="5" name="Объект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4" imgW="471" imgH="472" progId="TCLayout.ActiveDocument.1">
                  <p:embed/>
                </p:oleObj>
              </mc:Choice>
              <mc:Fallback>
                <p:oleObj name="Слайд think-cell" r:id="rId4" imgW="471" imgH="472" progId="TCLayout.ActiveDocument.1">
                  <p:embed/>
                  <p:pic>
                    <p:nvPicPr>
                      <p:cNvPr id="5" name="Объект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Прямоугольник 3" hidden="1"/>
          <p:cNvSpPr/>
          <p:nvPr userDrawn="1">
            <p:custDataLst>
              <p:tags r:id="rId2"/>
            </p:custDataLst>
          </p:nvPr>
        </p:nvSpPr>
        <p:spPr>
          <a:xfrm>
            <a:off x="0" y="0"/>
            <a:ext cx="158750" cy="158750"/>
          </a:xfrm>
          <a:prstGeom prst="rect">
            <a:avLst/>
          </a:prstGeom>
          <a:solidFill>
            <a:schemeClr val="accent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ru-RU" sz="2000" b="0" i="0" baseline="0" dirty="0">
              <a:latin typeface="Segoe UI" panose="020B0502040204020203" pitchFamily="34" charset="0"/>
              <a:ea typeface="+mj-ea"/>
              <a:cs typeface="+mj-cs"/>
              <a:sym typeface="Segoe UI" panose="020B0502040204020203" pitchFamily="34" charset="0"/>
            </a:endParaRPr>
          </a:p>
        </p:txBody>
      </p:sp>
      <p:sp>
        <p:nvSpPr>
          <p:cNvPr id="2" name="Заголовок 1"/>
          <p:cNvSpPr>
            <a:spLocks noGrp="1"/>
          </p:cNvSpPr>
          <p:nvPr>
            <p:ph type="title"/>
          </p:nvPr>
        </p:nvSpPr>
        <p:spPr>
          <a:xfrm>
            <a:off x="391265" y="192075"/>
            <a:ext cx="10555873" cy="276999"/>
          </a:xfrm>
        </p:spPr>
        <p:txBody>
          <a:bodyPr/>
          <a:lstStyle>
            <a:lvl1pPr>
              <a:defRPr sz="2000"/>
            </a:lvl1pPr>
          </a:lstStyle>
          <a:p>
            <a:r>
              <a:rPr lang="ru-RU"/>
              <a:t>Образец заголовка</a:t>
            </a:r>
            <a:endParaRPr lang="ru-RU" dirty="0"/>
          </a:p>
        </p:txBody>
      </p:sp>
      <p:sp>
        <p:nvSpPr>
          <p:cNvPr id="3" name="Номер слайда 2"/>
          <p:cNvSpPr>
            <a:spLocks noGrp="1"/>
          </p:cNvSpPr>
          <p:nvPr>
            <p:ph type="sldNum" sz="quarter" idx="10"/>
          </p:nvPr>
        </p:nvSpPr>
        <p:spPr>
          <a:xfrm>
            <a:off x="11810470" y="6576020"/>
            <a:ext cx="589856" cy="365125"/>
          </a:xfrm>
          <a:prstGeom prst="rect">
            <a:avLst/>
          </a:prstGeom>
        </p:spPr>
        <p:txBody>
          <a:bodyPr/>
          <a:lstStyle/>
          <a:p>
            <a:fld id="{B19B0651-EE4F-4900-A07F-96A6BFA9D0F0}" type="slidenum">
              <a:rPr lang="ru-RU" smtClean="0">
                <a:solidFill>
                  <a:prstClr val="black">
                    <a:tint val="75000"/>
                  </a:prstClr>
                </a:solidFill>
              </a:rPr>
              <a:pPr/>
              <a:t>‹#›</a:t>
            </a:fld>
            <a:endParaRPr lang="ru-RU" dirty="0">
              <a:solidFill>
                <a:prstClr val="black">
                  <a:tint val="75000"/>
                </a:prstClr>
              </a:solidFill>
            </a:endParaRPr>
          </a:p>
        </p:txBody>
      </p:sp>
      <p:pic>
        <p:nvPicPr>
          <p:cNvPr id="14" name="Рисунок 13" descr="http://05311BFB0B7396CBCF59420FADC09062.dms.sberbank.ru/05311BFB0B7396CBCF59420FADC09062-A43BE17F84EBF8A14D2FBB31548AE660-EA03F1F07397044467A7D5A37B53EE79/1.png"/>
          <p:cNvPicPr>
            <a:picLocks/>
          </p:cNvPicPr>
          <p:nvPr userDrawn="1"/>
        </p:nvPicPr>
        <p:blipFill>
          <a:blip r:link="rId6"/>
          <a:stretch>
            <a:fillRect/>
          </a:stretch>
        </p:blipFill>
        <p:spPr>
          <a:xfrm>
            <a:off x="0" y="0"/>
            <a:ext cx="1588" cy="1588"/>
          </a:xfrm>
          <a:prstGeom prst="rect">
            <a:avLst/>
          </a:prstGeom>
        </p:spPr>
      </p:pic>
      <p:pic>
        <p:nvPicPr>
          <p:cNvPr id="15" name="Рисунок 14" descr="http://05311BFB0B7396CBCF59420FADC09062.dms.sberbank.ru/05311BFB0B7396CBCF59420FADC09062-A43BE17F84EBF8A14D2FBB31548AE660-EA03F1F07397044467A7D5A37B53EE79/1.png"/>
          <p:cNvPicPr>
            <a:picLocks/>
          </p:cNvPicPr>
          <p:nvPr userDrawn="1"/>
        </p:nvPicPr>
        <p:blipFill>
          <a:blip r:link="rId6"/>
          <a:stretch>
            <a:fillRect/>
          </a:stretch>
        </p:blipFill>
        <p:spPr>
          <a:xfrm>
            <a:off x="0" y="0"/>
            <a:ext cx="1588" cy="1588"/>
          </a:xfrm>
          <a:prstGeom prst="rect">
            <a:avLst/>
          </a:prstGeom>
        </p:spPr>
      </p:pic>
    </p:spTree>
    <p:extLst>
      <p:ext uri="{BB962C8B-B14F-4D97-AF65-F5344CB8AC3E}">
        <p14:creationId xmlns:p14="http://schemas.microsoft.com/office/powerpoint/2010/main" val="41218162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Полный">
    <p:spTree>
      <p:nvGrpSpPr>
        <p:cNvPr id="1" name=""/>
        <p:cNvGrpSpPr/>
        <p:nvPr/>
      </p:nvGrpSpPr>
      <p:grpSpPr>
        <a:xfrm>
          <a:off x="0" y="0"/>
          <a:ext cx="0" cy="0"/>
          <a:chOff x="0" y="0"/>
          <a:chExt cx="0" cy="0"/>
        </a:xfrm>
      </p:grpSpPr>
      <p:sp>
        <p:nvSpPr>
          <p:cNvPr id="61" name="Прямоугольник 60">
            <a:extLst>
              <a:ext uri="{FF2B5EF4-FFF2-40B4-BE49-F238E27FC236}">
                <a16:creationId xmlns:a16="http://schemas.microsoft.com/office/drawing/2014/main" id="{1039A48A-BAC9-7648-90C0-DA5E4F3CBAEC}"/>
              </a:ext>
            </a:extLst>
          </p:cNvPr>
          <p:cNvSpPr/>
          <p:nvPr userDrawn="1"/>
        </p:nvSpPr>
        <p:spPr>
          <a:xfrm>
            <a:off x="2134800" y="1"/>
            <a:ext cx="1006795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2" name="TextBox 1"/>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sp>
        <p:nvSpPr>
          <p:cNvPr id="9" name="Title 1"/>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grpSp>
        <p:nvGrpSpPr>
          <p:cNvPr id="45" name="Группа 44">
            <a:extLst>
              <a:ext uri="{FF2B5EF4-FFF2-40B4-BE49-F238E27FC236}">
                <a16:creationId xmlns:a16="http://schemas.microsoft.com/office/drawing/2014/main" id="{0C8A99B0-BB0F-594E-BBB2-4F6C422A5D73}"/>
              </a:ext>
            </a:extLst>
          </p:cNvPr>
          <p:cNvGrpSpPr/>
          <p:nvPr userDrawn="1"/>
        </p:nvGrpSpPr>
        <p:grpSpPr>
          <a:xfrm>
            <a:off x="0" y="-7200"/>
            <a:ext cx="2148770" cy="553998"/>
            <a:chOff x="0" y="11193"/>
            <a:chExt cx="2148770" cy="553998"/>
          </a:xfrm>
        </p:grpSpPr>
        <p:sp>
          <p:nvSpPr>
            <p:cNvPr id="25" name="Прямоугольник 24">
              <a:extLst>
                <a:ext uri="{FF2B5EF4-FFF2-40B4-BE49-F238E27FC236}">
                  <a16:creationId xmlns:a16="http://schemas.microsoft.com/office/drawing/2014/main" id="{E5D7A035-431C-6942-AA7F-02341277A576}"/>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26" name="TextBox 25">
              <a:extLst>
                <a:ext uri="{FF2B5EF4-FFF2-40B4-BE49-F238E27FC236}">
                  <a16:creationId xmlns:a16="http://schemas.microsoft.com/office/drawing/2014/main" id="{4596D7C1-5BF8-8C45-930B-067DE7DAA062}"/>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46" name="TextBox 45">
              <a:extLst>
                <a:ext uri="{FF2B5EF4-FFF2-40B4-BE49-F238E27FC236}">
                  <a16:creationId xmlns:a16="http://schemas.microsoft.com/office/drawing/2014/main" id="{7D6EA4F5-6C93-9D43-8A29-61D5D1098B38}"/>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112" name="Прямоугольник 111">
            <a:extLst>
              <a:ext uri="{FF2B5EF4-FFF2-40B4-BE49-F238E27FC236}">
                <a16:creationId xmlns:a16="http://schemas.microsoft.com/office/drawing/2014/main" id="{2BB5DBF7-97FA-8B40-8DF1-98E4F0DF7AE2}"/>
              </a:ext>
            </a:extLst>
          </p:cNvPr>
          <p:cNvSpPr/>
          <p:nvPr userDrawn="1"/>
        </p:nvSpPr>
        <p:spPr>
          <a:xfrm>
            <a:off x="-5093665" y="-106734"/>
            <a:ext cx="2134800" cy="504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grpSp>
        <p:nvGrpSpPr>
          <p:cNvPr id="33" name="Группа 32">
            <a:extLst>
              <a:ext uri="{FF2B5EF4-FFF2-40B4-BE49-F238E27FC236}">
                <a16:creationId xmlns:a16="http://schemas.microsoft.com/office/drawing/2014/main" id="{B7C010CF-AB15-AD4D-B9F9-D700BF9DD6A8}"/>
              </a:ext>
            </a:extLst>
          </p:cNvPr>
          <p:cNvGrpSpPr/>
          <p:nvPr userDrawn="1"/>
        </p:nvGrpSpPr>
        <p:grpSpPr>
          <a:xfrm>
            <a:off x="-5093665" y="540000"/>
            <a:ext cx="4660570" cy="6048000"/>
            <a:chOff x="-5093665" y="529200"/>
            <a:chExt cx="4660570" cy="6048000"/>
          </a:xfrm>
        </p:grpSpPr>
        <p:sp>
          <p:nvSpPr>
            <p:cNvPr id="148" name="Прямоугольник 147">
              <a:extLst>
                <a:ext uri="{FF2B5EF4-FFF2-40B4-BE49-F238E27FC236}">
                  <a16:creationId xmlns:a16="http://schemas.microsoft.com/office/drawing/2014/main" id="{0BCCC7D5-D56B-C54C-A0E1-59522836691A}"/>
                </a:ext>
              </a:extLst>
            </p:cNvPr>
            <p:cNvSpPr/>
            <p:nvPr userDrawn="1"/>
          </p:nvSpPr>
          <p:spPr>
            <a:xfrm>
              <a:off x="-5093665" y="31212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149" name="TextBox 148">
              <a:extLst>
                <a:ext uri="{FF2B5EF4-FFF2-40B4-BE49-F238E27FC236}">
                  <a16:creationId xmlns:a16="http://schemas.microsoft.com/office/drawing/2014/main" id="{8A8BDD25-F40E-4640-BEC3-23D47557F343}"/>
                </a:ext>
              </a:extLst>
            </p:cNvPr>
            <p:cNvSpPr txBox="1"/>
            <p:nvPr userDrawn="1"/>
          </p:nvSpPr>
          <p:spPr>
            <a:xfrm>
              <a:off x="-4489176" y="32217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8" name="Рисунок 7">
              <a:extLst>
                <a:ext uri="{FF2B5EF4-FFF2-40B4-BE49-F238E27FC236}">
                  <a16:creationId xmlns:a16="http://schemas.microsoft.com/office/drawing/2014/main" id="{89F55528-EE2E-614E-BC99-45B57B76FB1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924394" y="3193200"/>
              <a:ext cx="288000" cy="288000"/>
            </a:xfrm>
            <a:prstGeom prst="rect">
              <a:avLst/>
            </a:prstGeom>
          </p:spPr>
        </p:pic>
        <p:sp>
          <p:nvSpPr>
            <p:cNvPr id="173" name="Прямоугольник 172">
              <a:extLst>
                <a:ext uri="{FF2B5EF4-FFF2-40B4-BE49-F238E27FC236}">
                  <a16:creationId xmlns:a16="http://schemas.microsoft.com/office/drawing/2014/main" id="{EDD205B0-5168-E449-81AB-28D8BB3B0B5E}"/>
                </a:ext>
              </a:extLst>
            </p:cNvPr>
            <p:cNvSpPr/>
            <p:nvPr userDrawn="1"/>
          </p:nvSpPr>
          <p:spPr>
            <a:xfrm>
              <a:off x="-2567895" y="31212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174" name="TextBox 173">
              <a:extLst>
                <a:ext uri="{FF2B5EF4-FFF2-40B4-BE49-F238E27FC236}">
                  <a16:creationId xmlns:a16="http://schemas.microsoft.com/office/drawing/2014/main" id="{A5021444-A504-6D42-8440-4E11125F4BD8}"/>
                </a:ext>
              </a:extLst>
            </p:cNvPr>
            <p:cNvSpPr txBox="1"/>
            <p:nvPr userDrawn="1"/>
          </p:nvSpPr>
          <p:spPr>
            <a:xfrm>
              <a:off x="-1963406" y="3221784"/>
              <a:ext cx="1439290" cy="230832"/>
            </a:xfrm>
            <a:prstGeom prst="rect">
              <a:avLst/>
            </a:prstGeom>
            <a:noFill/>
          </p:spPr>
          <p:txBody>
            <a:bodyPr wrap="square" rtlCol="0" anchor="ctr">
              <a:spAutoFit/>
            </a:bodyPr>
            <a:lstStyle/>
            <a:p>
              <a:r>
                <a:rPr lang="en-US" sz="900" b="1" dirty="0">
                  <a:solidFill>
                    <a:schemeClr val="bg1"/>
                  </a:solidFill>
                </a:rPr>
                <a:t>Risk Model Governance</a:t>
              </a:r>
              <a:endParaRPr lang="ru-RU" sz="900" b="1" dirty="0">
                <a:solidFill>
                  <a:schemeClr val="bg1"/>
                </a:solidFill>
              </a:endParaRPr>
            </a:p>
          </p:txBody>
        </p:sp>
        <p:pic>
          <p:nvPicPr>
            <p:cNvPr id="11" name="Рисунок 10">
              <a:extLst>
                <a:ext uri="{FF2B5EF4-FFF2-40B4-BE49-F238E27FC236}">
                  <a16:creationId xmlns:a16="http://schemas.microsoft.com/office/drawing/2014/main" id="{A20E0070-84B6-3A46-997F-B5A64503383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96372" y="3193200"/>
              <a:ext cx="288000" cy="288000"/>
            </a:xfrm>
            <a:prstGeom prst="rect">
              <a:avLst/>
            </a:prstGeom>
          </p:spPr>
        </p:pic>
        <p:sp>
          <p:nvSpPr>
            <p:cNvPr id="134" name="Прямоугольник 133">
              <a:extLst>
                <a:ext uri="{FF2B5EF4-FFF2-40B4-BE49-F238E27FC236}">
                  <a16:creationId xmlns:a16="http://schemas.microsoft.com/office/drawing/2014/main" id="{E4F134CD-7C79-5145-8F1E-408ABC47E45D}"/>
                </a:ext>
              </a:extLst>
            </p:cNvPr>
            <p:cNvSpPr/>
            <p:nvPr userDrawn="1"/>
          </p:nvSpPr>
          <p:spPr>
            <a:xfrm>
              <a:off x="-5093665" y="26892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138" name="TextBox 137">
              <a:extLst>
                <a:ext uri="{FF2B5EF4-FFF2-40B4-BE49-F238E27FC236}">
                  <a16:creationId xmlns:a16="http://schemas.microsoft.com/office/drawing/2014/main" id="{6A7F204B-A2EB-F540-A2BA-B216240095A7}"/>
                </a:ext>
              </a:extLst>
            </p:cNvPr>
            <p:cNvSpPr txBox="1"/>
            <p:nvPr userDrawn="1"/>
          </p:nvSpPr>
          <p:spPr>
            <a:xfrm>
              <a:off x="-4489176" y="27897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13" name="Рисунок 12">
              <a:extLst>
                <a:ext uri="{FF2B5EF4-FFF2-40B4-BE49-F238E27FC236}">
                  <a16:creationId xmlns:a16="http://schemas.microsoft.com/office/drawing/2014/main" id="{8B5010DC-8F0F-C742-9B07-4672A539685A}"/>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924394" y="2761200"/>
              <a:ext cx="288000" cy="288000"/>
            </a:xfrm>
            <a:prstGeom prst="rect">
              <a:avLst/>
            </a:prstGeom>
          </p:spPr>
        </p:pic>
        <p:sp>
          <p:nvSpPr>
            <p:cNvPr id="177" name="Прямоугольник 176">
              <a:extLst>
                <a:ext uri="{FF2B5EF4-FFF2-40B4-BE49-F238E27FC236}">
                  <a16:creationId xmlns:a16="http://schemas.microsoft.com/office/drawing/2014/main" id="{DC119702-A83D-0E40-8552-CF747ED5DD0F}"/>
                </a:ext>
              </a:extLst>
            </p:cNvPr>
            <p:cNvSpPr/>
            <p:nvPr userDrawn="1"/>
          </p:nvSpPr>
          <p:spPr>
            <a:xfrm>
              <a:off x="-2567895" y="26892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178" name="TextBox 177">
              <a:extLst>
                <a:ext uri="{FF2B5EF4-FFF2-40B4-BE49-F238E27FC236}">
                  <a16:creationId xmlns:a16="http://schemas.microsoft.com/office/drawing/2014/main" id="{DE855EAC-9911-8247-9CE0-83420387339D}"/>
                </a:ext>
              </a:extLst>
            </p:cNvPr>
            <p:cNvSpPr txBox="1"/>
            <p:nvPr userDrawn="1"/>
          </p:nvSpPr>
          <p:spPr>
            <a:xfrm>
              <a:off x="-1963406" y="2789784"/>
              <a:ext cx="1439290" cy="230832"/>
            </a:xfrm>
            <a:prstGeom prst="rect">
              <a:avLst/>
            </a:prstGeom>
            <a:noFill/>
          </p:spPr>
          <p:txBody>
            <a:bodyPr wrap="square" rtlCol="0" anchor="ctr">
              <a:spAutoFit/>
            </a:bodyPr>
            <a:lstStyle/>
            <a:p>
              <a:r>
                <a:rPr lang="en-US" sz="900" b="1" dirty="0">
                  <a:solidFill>
                    <a:schemeClr val="bg1"/>
                  </a:solidFill>
                </a:rPr>
                <a:t>Risk Data Governance</a:t>
              </a:r>
              <a:endParaRPr lang="ru-RU" sz="900" b="1" dirty="0">
                <a:solidFill>
                  <a:schemeClr val="bg1"/>
                </a:solidFill>
              </a:endParaRPr>
            </a:p>
          </p:txBody>
        </p:sp>
        <p:pic>
          <p:nvPicPr>
            <p:cNvPr id="15" name="Рисунок 14">
              <a:extLst>
                <a:ext uri="{FF2B5EF4-FFF2-40B4-BE49-F238E27FC236}">
                  <a16:creationId xmlns:a16="http://schemas.microsoft.com/office/drawing/2014/main" id="{A214EE19-7D1C-0A42-A27F-2C94B6F3C7C7}"/>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396372" y="2761200"/>
              <a:ext cx="288000" cy="288000"/>
            </a:xfrm>
            <a:prstGeom prst="rect">
              <a:avLst/>
            </a:prstGeom>
          </p:spPr>
        </p:pic>
        <p:sp>
          <p:nvSpPr>
            <p:cNvPr id="122" name="Прямоугольник 121">
              <a:extLst>
                <a:ext uri="{FF2B5EF4-FFF2-40B4-BE49-F238E27FC236}">
                  <a16:creationId xmlns:a16="http://schemas.microsoft.com/office/drawing/2014/main" id="{7CF405AE-EB41-8F46-8EFA-7384F9413BEE}"/>
                </a:ext>
              </a:extLst>
            </p:cNvPr>
            <p:cNvSpPr/>
            <p:nvPr userDrawn="1"/>
          </p:nvSpPr>
          <p:spPr>
            <a:xfrm>
              <a:off x="-5093665" y="22572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123" name="TextBox 122">
              <a:extLst>
                <a:ext uri="{FF2B5EF4-FFF2-40B4-BE49-F238E27FC236}">
                  <a16:creationId xmlns:a16="http://schemas.microsoft.com/office/drawing/2014/main" id="{D0210663-C867-9241-AC1B-35C1B953B450}"/>
                </a:ext>
              </a:extLst>
            </p:cNvPr>
            <p:cNvSpPr txBox="1"/>
            <p:nvPr userDrawn="1"/>
          </p:nvSpPr>
          <p:spPr>
            <a:xfrm>
              <a:off x="-4489176" y="22885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17" name="Рисунок 16">
              <a:extLst>
                <a:ext uri="{FF2B5EF4-FFF2-40B4-BE49-F238E27FC236}">
                  <a16:creationId xmlns:a16="http://schemas.microsoft.com/office/drawing/2014/main" id="{D140F756-D879-864E-A918-8653D8D38493}"/>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4924394" y="2329200"/>
              <a:ext cx="288000" cy="288000"/>
            </a:xfrm>
            <a:prstGeom prst="rect">
              <a:avLst/>
            </a:prstGeom>
          </p:spPr>
        </p:pic>
        <p:sp>
          <p:nvSpPr>
            <p:cNvPr id="181" name="Прямоугольник 180">
              <a:extLst>
                <a:ext uri="{FF2B5EF4-FFF2-40B4-BE49-F238E27FC236}">
                  <a16:creationId xmlns:a16="http://schemas.microsoft.com/office/drawing/2014/main" id="{C0E56B4C-0F01-8E41-8712-133EAFFDF318}"/>
                </a:ext>
              </a:extLst>
            </p:cNvPr>
            <p:cNvSpPr/>
            <p:nvPr userDrawn="1"/>
          </p:nvSpPr>
          <p:spPr>
            <a:xfrm>
              <a:off x="-2567895" y="22572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82" name="TextBox 181">
              <a:extLst>
                <a:ext uri="{FF2B5EF4-FFF2-40B4-BE49-F238E27FC236}">
                  <a16:creationId xmlns:a16="http://schemas.microsoft.com/office/drawing/2014/main" id="{A4FA2114-73AD-C948-802E-06F1B3B83224}"/>
                </a:ext>
              </a:extLst>
            </p:cNvPr>
            <p:cNvSpPr txBox="1"/>
            <p:nvPr userDrawn="1"/>
          </p:nvSpPr>
          <p:spPr>
            <a:xfrm>
              <a:off x="-1963406" y="2288534"/>
              <a:ext cx="1439290" cy="369332"/>
            </a:xfrm>
            <a:prstGeom prst="rect">
              <a:avLst/>
            </a:prstGeom>
            <a:noFill/>
          </p:spPr>
          <p:txBody>
            <a:bodyPr wrap="square" rtlCol="0" anchor="ctr">
              <a:spAutoFit/>
            </a:bodyPr>
            <a:lstStyle/>
            <a:p>
              <a:r>
                <a:rPr lang="ru-RU" sz="900" b="1" dirty="0" err="1">
                  <a:solidFill>
                    <a:schemeClr val="bg1"/>
                  </a:solidFill>
                </a:rPr>
                <a:t>Страновой</a:t>
              </a:r>
              <a:r>
                <a:rPr lang="ru-RU" sz="900" b="1" dirty="0">
                  <a:solidFill>
                    <a:schemeClr val="bg1"/>
                  </a:solidFill>
                </a:rPr>
                <a:t> риск, залоги, групповая методология</a:t>
              </a:r>
            </a:p>
          </p:txBody>
        </p:sp>
        <p:pic>
          <p:nvPicPr>
            <p:cNvPr id="19" name="Рисунок 18">
              <a:extLst>
                <a:ext uri="{FF2B5EF4-FFF2-40B4-BE49-F238E27FC236}">
                  <a16:creationId xmlns:a16="http://schemas.microsoft.com/office/drawing/2014/main" id="{643203A8-8EE1-524A-AAD7-B25022D55441}"/>
                </a:ext>
              </a:extLst>
            </p:cNvPr>
            <p:cNvPicPr>
              <a:picLocks noChangeAspect="1"/>
            </p:cNvPicPr>
            <p:nvPr userDrawn="1"/>
          </p:nvPicPr>
          <p:blipFill>
            <a:blip r:embed="rId7" cstate="hqprint">
              <a:extLst>
                <a:ext uri="{28A0092B-C50C-407E-A947-70E740481C1C}">
                  <a14:useLocalDpi xmlns:a14="http://schemas.microsoft.com/office/drawing/2010/main" val="0"/>
                </a:ext>
              </a:extLst>
            </a:blip>
            <a:stretch>
              <a:fillRect/>
            </a:stretch>
          </p:blipFill>
          <p:spPr>
            <a:xfrm>
              <a:off x="-2396372" y="2329200"/>
              <a:ext cx="288000" cy="288000"/>
            </a:xfrm>
            <a:prstGeom prst="rect">
              <a:avLst/>
            </a:prstGeom>
          </p:spPr>
        </p:pic>
        <p:sp>
          <p:nvSpPr>
            <p:cNvPr id="154" name="Прямоугольник 153">
              <a:extLst>
                <a:ext uri="{FF2B5EF4-FFF2-40B4-BE49-F238E27FC236}">
                  <a16:creationId xmlns:a16="http://schemas.microsoft.com/office/drawing/2014/main" id="{AE0DA309-B548-6C45-880A-4111FD2997E9}"/>
                </a:ext>
              </a:extLst>
            </p:cNvPr>
            <p:cNvSpPr/>
            <p:nvPr userDrawn="1"/>
          </p:nvSpPr>
          <p:spPr>
            <a:xfrm>
              <a:off x="-5093665" y="18252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55" name="TextBox 154">
              <a:extLst>
                <a:ext uri="{FF2B5EF4-FFF2-40B4-BE49-F238E27FC236}">
                  <a16:creationId xmlns:a16="http://schemas.microsoft.com/office/drawing/2014/main" id="{5E78940A-D3EB-AB41-8A98-9227FDE0EDF3}"/>
                </a:ext>
              </a:extLst>
            </p:cNvPr>
            <p:cNvSpPr txBox="1"/>
            <p:nvPr userDrawn="1"/>
          </p:nvSpPr>
          <p:spPr>
            <a:xfrm>
              <a:off x="-4489176" y="18565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21" name="Рисунок 20">
              <a:extLst>
                <a:ext uri="{FF2B5EF4-FFF2-40B4-BE49-F238E27FC236}">
                  <a16:creationId xmlns:a16="http://schemas.microsoft.com/office/drawing/2014/main" id="{7369BE88-04AB-8E43-AF57-44758B7751F8}"/>
                </a:ext>
              </a:extLst>
            </p:cNvPr>
            <p:cNvPicPr>
              <a:picLocks noChangeAspect="1"/>
            </p:cNvPicPr>
            <p:nvPr userDrawn="1"/>
          </p:nvPicPr>
          <p:blipFill>
            <a:blip r:embed="rId8" cstate="hqprint">
              <a:extLst>
                <a:ext uri="{28A0092B-C50C-407E-A947-70E740481C1C}">
                  <a14:useLocalDpi xmlns:a14="http://schemas.microsoft.com/office/drawing/2010/main" val="0"/>
                </a:ext>
              </a:extLst>
            </a:blip>
            <a:stretch>
              <a:fillRect/>
            </a:stretch>
          </p:blipFill>
          <p:spPr>
            <a:xfrm>
              <a:off x="-4924394" y="1897200"/>
              <a:ext cx="288000" cy="288000"/>
            </a:xfrm>
            <a:prstGeom prst="rect">
              <a:avLst/>
            </a:prstGeom>
          </p:spPr>
        </p:pic>
        <p:sp>
          <p:nvSpPr>
            <p:cNvPr id="185" name="Прямоугольник 184">
              <a:extLst>
                <a:ext uri="{FF2B5EF4-FFF2-40B4-BE49-F238E27FC236}">
                  <a16:creationId xmlns:a16="http://schemas.microsoft.com/office/drawing/2014/main" id="{19D2482E-4C6F-EB41-833A-424246AA0CE4}"/>
                </a:ext>
              </a:extLst>
            </p:cNvPr>
            <p:cNvSpPr/>
            <p:nvPr userDrawn="1"/>
          </p:nvSpPr>
          <p:spPr>
            <a:xfrm>
              <a:off x="-2567895" y="18252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86" name="TextBox 185">
              <a:extLst>
                <a:ext uri="{FF2B5EF4-FFF2-40B4-BE49-F238E27FC236}">
                  <a16:creationId xmlns:a16="http://schemas.microsoft.com/office/drawing/2014/main" id="{3D4A0E51-846B-FD4A-89E3-0C65AFC8E304}"/>
                </a:ext>
              </a:extLst>
            </p:cNvPr>
            <p:cNvSpPr txBox="1"/>
            <p:nvPr userDrawn="1"/>
          </p:nvSpPr>
          <p:spPr>
            <a:xfrm>
              <a:off x="-1963406" y="1856534"/>
              <a:ext cx="1439290" cy="369332"/>
            </a:xfrm>
            <a:prstGeom prst="rect">
              <a:avLst/>
            </a:prstGeom>
            <a:noFill/>
          </p:spPr>
          <p:txBody>
            <a:bodyPr wrap="square" rtlCol="0" anchor="ctr">
              <a:spAutoFit/>
            </a:bodyPr>
            <a:lstStyle/>
            <a:p>
              <a:r>
                <a:rPr lang="ru-RU" sz="900" b="1" dirty="0">
                  <a:solidFill>
                    <a:schemeClr val="bg1"/>
                  </a:solidFill>
                </a:rPr>
                <a:t>Портфельный риск-менеджмент</a:t>
              </a:r>
            </a:p>
          </p:txBody>
        </p:sp>
        <p:pic>
          <p:nvPicPr>
            <p:cNvPr id="23" name="Рисунок 22">
              <a:extLst>
                <a:ext uri="{FF2B5EF4-FFF2-40B4-BE49-F238E27FC236}">
                  <a16:creationId xmlns:a16="http://schemas.microsoft.com/office/drawing/2014/main" id="{DACB067C-EA14-C24C-A84D-ABC193FEB944}"/>
                </a:ext>
              </a:extLst>
            </p:cNvPr>
            <p:cNvPicPr>
              <a:picLocks noChangeAspect="1"/>
            </p:cNvPicPr>
            <p:nvPr userDrawn="1"/>
          </p:nvPicPr>
          <p:blipFill>
            <a:blip r:embed="rId9" cstate="hqprint">
              <a:extLst>
                <a:ext uri="{28A0092B-C50C-407E-A947-70E740481C1C}">
                  <a14:useLocalDpi xmlns:a14="http://schemas.microsoft.com/office/drawing/2010/main" val="0"/>
                </a:ext>
              </a:extLst>
            </a:blip>
            <a:stretch>
              <a:fillRect/>
            </a:stretch>
          </p:blipFill>
          <p:spPr>
            <a:xfrm>
              <a:off x="-2396372" y="1897200"/>
              <a:ext cx="288000" cy="288000"/>
            </a:xfrm>
            <a:prstGeom prst="rect">
              <a:avLst/>
            </a:prstGeom>
          </p:spPr>
        </p:pic>
        <p:sp>
          <p:nvSpPr>
            <p:cNvPr id="157" name="Прямоугольник 156">
              <a:extLst>
                <a:ext uri="{FF2B5EF4-FFF2-40B4-BE49-F238E27FC236}">
                  <a16:creationId xmlns:a16="http://schemas.microsoft.com/office/drawing/2014/main" id="{6366698E-E20D-5342-BE12-8DB24B5317B7}"/>
                </a:ext>
              </a:extLst>
            </p:cNvPr>
            <p:cNvSpPr/>
            <p:nvPr userDrawn="1"/>
          </p:nvSpPr>
          <p:spPr>
            <a:xfrm>
              <a:off x="-5093665" y="44172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58" name="TextBox 157">
              <a:extLst>
                <a:ext uri="{FF2B5EF4-FFF2-40B4-BE49-F238E27FC236}">
                  <a16:creationId xmlns:a16="http://schemas.microsoft.com/office/drawing/2014/main" id="{6A0722BC-B1F8-3A4F-98CC-C2699CD46F5D}"/>
                </a:ext>
              </a:extLst>
            </p:cNvPr>
            <p:cNvSpPr txBox="1"/>
            <p:nvPr userDrawn="1"/>
          </p:nvSpPr>
          <p:spPr>
            <a:xfrm>
              <a:off x="-4489176" y="45177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27" name="Рисунок 26">
              <a:extLst>
                <a:ext uri="{FF2B5EF4-FFF2-40B4-BE49-F238E27FC236}">
                  <a16:creationId xmlns:a16="http://schemas.microsoft.com/office/drawing/2014/main" id="{F964ECB3-7626-8F4C-A49F-243CE247FE27}"/>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4924394" y="4489200"/>
              <a:ext cx="288000" cy="288000"/>
            </a:xfrm>
            <a:prstGeom prst="rect">
              <a:avLst/>
            </a:prstGeom>
          </p:spPr>
        </p:pic>
        <p:sp>
          <p:nvSpPr>
            <p:cNvPr id="193" name="Прямоугольник 192">
              <a:extLst>
                <a:ext uri="{FF2B5EF4-FFF2-40B4-BE49-F238E27FC236}">
                  <a16:creationId xmlns:a16="http://schemas.microsoft.com/office/drawing/2014/main" id="{FE89E3EE-0176-5841-8972-605EC194E2E3}"/>
                </a:ext>
              </a:extLst>
            </p:cNvPr>
            <p:cNvSpPr/>
            <p:nvPr userDrawn="1"/>
          </p:nvSpPr>
          <p:spPr>
            <a:xfrm>
              <a:off x="-2567895" y="44172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94" name="TextBox 193">
              <a:extLst>
                <a:ext uri="{FF2B5EF4-FFF2-40B4-BE49-F238E27FC236}">
                  <a16:creationId xmlns:a16="http://schemas.microsoft.com/office/drawing/2014/main" id="{7694C2C3-1CC6-5949-BB3D-1B2FD64C740B}"/>
                </a:ext>
              </a:extLst>
            </p:cNvPr>
            <p:cNvSpPr txBox="1"/>
            <p:nvPr userDrawn="1"/>
          </p:nvSpPr>
          <p:spPr>
            <a:xfrm>
              <a:off x="-1963406" y="4517784"/>
              <a:ext cx="1439290" cy="230832"/>
            </a:xfrm>
            <a:prstGeom prst="rect">
              <a:avLst/>
            </a:prstGeom>
            <a:noFill/>
          </p:spPr>
          <p:txBody>
            <a:bodyPr wrap="square" rtlCol="0" anchor="ctr">
              <a:spAutoFit/>
            </a:bodyPr>
            <a:lstStyle/>
            <a:p>
              <a:r>
                <a:rPr lang="ru-RU" sz="900" b="1" dirty="0" err="1">
                  <a:solidFill>
                    <a:schemeClr val="bg1"/>
                  </a:solidFill>
                </a:rPr>
                <a:t>Технориск</a:t>
              </a:r>
              <a:endParaRPr lang="ru-RU" sz="900" b="1" dirty="0">
                <a:solidFill>
                  <a:schemeClr val="bg1"/>
                </a:solidFill>
              </a:endParaRPr>
            </a:p>
          </p:txBody>
        </p:sp>
        <p:pic>
          <p:nvPicPr>
            <p:cNvPr id="29" name="Рисунок 28">
              <a:extLst>
                <a:ext uri="{FF2B5EF4-FFF2-40B4-BE49-F238E27FC236}">
                  <a16:creationId xmlns:a16="http://schemas.microsoft.com/office/drawing/2014/main" id="{B45933BA-EAD5-4048-9BA5-AC4A9DA9647B}"/>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2396372" y="4489200"/>
              <a:ext cx="288000" cy="288000"/>
            </a:xfrm>
            <a:prstGeom prst="rect">
              <a:avLst/>
            </a:prstGeom>
          </p:spPr>
        </p:pic>
        <p:sp>
          <p:nvSpPr>
            <p:cNvPr id="115" name="Прямоугольник 114">
              <a:extLst>
                <a:ext uri="{FF2B5EF4-FFF2-40B4-BE49-F238E27FC236}">
                  <a16:creationId xmlns:a16="http://schemas.microsoft.com/office/drawing/2014/main" id="{DD1B3AF4-485B-DE46-808B-C013A0ADBBDA}"/>
                </a:ext>
              </a:extLst>
            </p:cNvPr>
            <p:cNvSpPr/>
            <p:nvPr userDrawn="1"/>
          </p:nvSpPr>
          <p:spPr>
            <a:xfrm>
              <a:off x="-5093665" y="35532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6" name="TextBox 125">
              <a:extLst>
                <a:ext uri="{FF2B5EF4-FFF2-40B4-BE49-F238E27FC236}">
                  <a16:creationId xmlns:a16="http://schemas.microsoft.com/office/drawing/2014/main" id="{483A3CE9-ECF2-354C-B0EE-EBBC58D027A1}"/>
                </a:ext>
              </a:extLst>
            </p:cNvPr>
            <p:cNvSpPr txBox="1"/>
            <p:nvPr userDrawn="1"/>
          </p:nvSpPr>
          <p:spPr>
            <a:xfrm>
              <a:off x="-4489176" y="36537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145" name="Рисунок 144">
              <a:extLst>
                <a:ext uri="{FF2B5EF4-FFF2-40B4-BE49-F238E27FC236}">
                  <a16:creationId xmlns:a16="http://schemas.microsoft.com/office/drawing/2014/main" id="{CA3B877C-EAEC-774D-ACA1-03AABCC7EDB6}"/>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924394" y="3625200"/>
              <a:ext cx="288000" cy="288000"/>
            </a:xfrm>
            <a:prstGeom prst="rect">
              <a:avLst/>
            </a:prstGeom>
          </p:spPr>
        </p:pic>
        <p:sp>
          <p:nvSpPr>
            <p:cNvPr id="205" name="Прямоугольник 204">
              <a:extLst>
                <a:ext uri="{FF2B5EF4-FFF2-40B4-BE49-F238E27FC236}">
                  <a16:creationId xmlns:a16="http://schemas.microsoft.com/office/drawing/2014/main" id="{72F23E4B-8CF7-7644-BAEF-D87686B5E10E}"/>
                </a:ext>
              </a:extLst>
            </p:cNvPr>
            <p:cNvSpPr/>
            <p:nvPr userDrawn="1"/>
          </p:nvSpPr>
          <p:spPr>
            <a:xfrm>
              <a:off x="-2567895" y="35532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06" name="TextBox 205">
              <a:extLst>
                <a:ext uri="{FF2B5EF4-FFF2-40B4-BE49-F238E27FC236}">
                  <a16:creationId xmlns:a16="http://schemas.microsoft.com/office/drawing/2014/main" id="{B909337F-C312-794D-9746-2749ABF3D320}"/>
                </a:ext>
              </a:extLst>
            </p:cNvPr>
            <p:cNvSpPr txBox="1"/>
            <p:nvPr userDrawn="1"/>
          </p:nvSpPr>
          <p:spPr>
            <a:xfrm>
              <a:off x="-1963406" y="3653784"/>
              <a:ext cx="1439290" cy="230832"/>
            </a:xfrm>
            <a:prstGeom prst="rect">
              <a:avLst/>
            </a:prstGeom>
            <a:noFill/>
          </p:spPr>
          <p:txBody>
            <a:bodyPr wrap="square" rtlCol="0" anchor="ctr">
              <a:spAutoFit/>
            </a:bodyPr>
            <a:lstStyle/>
            <a:p>
              <a:r>
                <a:rPr lang="ru-RU" sz="900" b="1" dirty="0">
                  <a:solidFill>
                    <a:schemeClr val="bg1"/>
                  </a:solidFill>
                </a:rPr>
                <a:t>Риски банковской книги</a:t>
              </a:r>
            </a:p>
          </p:txBody>
        </p:sp>
        <p:pic>
          <p:nvPicPr>
            <p:cNvPr id="326" name="Рисунок 325">
              <a:extLst>
                <a:ext uri="{FF2B5EF4-FFF2-40B4-BE49-F238E27FC236}">
                  <a16:creationId xmlns:a16="http://schemas.microsoft.com/office/drawing/2014/main" id="{87B70CB0-23FC-0F4F-A9AD-05CC25CDD164}"/>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2396372" y="3625200"/>
              <a:ext cx="288000" cy="288000"/>
            </a:xfrm>
            <a:prstGeom prst="rect">
              <a:avLst/>
            </a:prstGeom>
          </p:spPr>
        </p:pic>
        <p:sp>
          <p:nvSpPr>
            <p:cNvPr id="116" name="Прямоугольник 115">
              <a:extLst>
                <a:ext uri="{FF2B5EF4-FFF2-40B4-BE49-F238E27FC236}">
                  <a16:creationId xmlns:a16="http://schemas.microsoft.com/office/drawing/2014/main" id="{3B765EBC-D8E8-454A-B76C-1A1255B5332E}"/>
                </a:ext>
              </a:extLst>
            </p:cNvPr>
            <p:cNvSpPr/>
            <p:nvPr userDrawn="1"/>
          </p:nvSpPr>
          <p:spPr>
            <a:xfrm>
              <a:off x="-5093665" y="39852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7" name="TextBox 126">
              <a:extLst>
                <a:ext uri="{FF2B5EF4-FFF2-40B4-BE49-F238E27FC236}">
                  <a16:creationId xmlns:a16="http://schemas.microsoft.com/office/drawing/2014/main" id="{CBDC2A0B-7B80-234D-9134-A69C042CB616}"/>
                </a:ext>
              </a:extLst>
            </p:cNvPr>
            <p:cNvSpPr txBox="1"/>
            <p:nvPr userDrawn="1"/>
          </p:nvSpPr>
          <p:spPr>
            <a:xfrm>
              <a:off x="-4489176" y="40857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147" name="Рисунок 146">
              <a:extLst>
                <a:ext uri="{FF2B5EF4-FFF2-40B4-BE49-F238E27FC236}">
                  <a16:creationId xmlns:a16="http://schemas.microsoft.com/office/drawing/2014/main" id="{FDC2491B-9C30-FA4F-AB32-75BBEB2DE972}"/>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4924394" y="4057200"/>
              <a:ext cx="288000" cy="288000"/>
            </a:xfrm>
            <a:prstGeom prst="rect">
              <a:avLst/>
            </a:prstGeom>
          </p:spPr>
        </p:pic>
        <p:sp>
          <p:nvSpPr>
            <p:cNvPr id="209" name="Прямоугольник 208">
              <a:extLst>
                <a:ext uri="{FF2B5EF4-FFF2-40B4-BE49-F238E27FC236}">
                  <a16:creationId xmlns:a16="http://schemas.microsoft.com/office/drawing/2014/main" id="{DA4CB310-1C70-D045-BF41-279B84260565}"/>
                </a:ext>
              </a:extLst>
            </p:cNvPr>
            <p:cNvSpPr/>
            <p:nvPr userDrawn="1"/>
          </p:nvSpPr>
          <p:spPr>
            <a:xfrm>
              <a:off x="-2567895" y="39852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10" name="TextBox 209">
              <a:extLst>
                <a:ext uri="{FF2B5EF4-FFF2-40B4-BE49-F238E27FC236}">
                  <a16:creationId xmlns:a16="http://schemas.microsoft.com/office/drawing/2014/main" id="{4E70CA8F-896E-8548-B2CF-CC03DD022B2F}"/>
                </a:ext>
              </a:extLst>
            </p:cNvPr>
            <p:cNvSpPr txBox="1"/>
            <p:nvPr userDrawn="1"/>
          </p:nvSpPr>
          <p:spPr>
            <a:xfrm>
              <a:off x="-1963406" y="4085784"/>
              <a:ext cx="1439290" cy="230832"/>
            </a:xfrm>
            <a:prstGeom prst="rect">
              <a:avLst/>
            </a:prstGeom>
            <a:noFill/>
          </p:spPr>
          <p:txBody>
            <a:bodyPr wrap="square" rtlCol="0" anchor="ctr">
              <a:spAutoFit/>
            </a:bodyPr>
            <a:lstStyle/>
            <a:p>
              <a:r>
                <a:rPr lang="en-US" sz="900" b="1" dirty="0" err="1">
                  <a:solidFill>
                    <a:schemeClr val="bg1"/>
                  </a:solidFill>
                </a:rPr>
                <a:t>Опер</a:t>
              </a:r>
              <a:r>
                <a:rPr lang="ru-RU" sz="900" b="1" dirty="0" err="1">
                  <a:solidFill>
                    <a:schemeClr val="bg1"/>
                  </a:solidFill>
                </a:rPr>
                <a:t>ационный</a:t>
              </a:r>
              <a:r>
                <a:rPr lang="ru-RU" sz="900" b="1" dirty="0">
                  <a:solidFill>
                    <a:schemeClr val="bg1"/>
                  </a:solidFill>
                </a:rPr>
                <a:t> риск</a:t>
              </a:r>
            </a:p>
          </p:txBody>
        </p:sp>
        <p:pic>
          <p:nvPicPr>
            <p:cNvPr id="328" name="Рисунок 327">
              <a:extLst>
                <a:ext uri="{FF2B5EF4-FFF2-40B4-BE49-F238E27FC236}">
                  <a16:creationId xmlns:a16="http://schemas.microsoft.com/office/drawing/2014/main" id="{873AE595-7C28-F046-BC11-883F77D4FD72}"/>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2396372" y="4057200"/>
              <a:ext cx="288000" cy="288000"/>
            </a:xfrm>
            <a:prstGeom prst="rect">
              <a:avLst/>
            </a:prstGeom>
          </p:spPr>
        </p:pic>
        <p:sp>
          <p:nvSpPr>
            <p:cNvPr id="117" name="Прямоугольник 116">
              <a:extLst>
                <a:ext uri="{FF2B5EF4-FFF2-40B4-BE49-F238E27FC236}">
                  <a16:creationId xmlns:a16="http://schemas.microsoft.com/office/drawing/2014/main" id="{C601E0F1-8973-6C4D-B3FA-49ED1DDE1998}"/>
                </a:ext>
              </a:extLst>
            </p:cNvPr>
            <p:cNvSpPr/>
            <p:nvPr userDrawn="1"/>
          </p:nvSpPr>
          <p:spPr>
            <a:xfrm>
              <a:off x="-5093665" y="9612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8" name="TextBox 127">
              <a:extLst>
                <a:ext uri="{FF2B5EF4-FFF2-40B4-BE49-F238E27FC236}">
                  <a16:creationId xmlns:a16="http://schemas.microsoft.com/office/drawing/2014/main" id="{37A22729-1229-D244-9FE6-20283DE0AEE0}"/>
                </a:ext>
              </a:extLst>
            </p:cNvPr>
            <p:cNvSpPr txBox="1"/>
            <p:nvPr userDrawn="1"/>
          </p:nvSpPr>
          <p:spPr>
            <a:xfrm>
              <a:off x="-4489176" y="10617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144" name="Рисунок 143">
              <a:extLst>
                <a:ext uri="{FF2B5EF4-FFF2-40B4-BE49-F238E27FC236}">
                  <a16:creationId xmlns:a16="http://schemas.microsoft.com/office/drawing/2014/main" id="{67E7FB88-5B5B-BD4A-B5E6-F8A56EBCF4F3}"/>
                </a:ext>
              </a:extLst>
            </p:cNvPr>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4924394" y="1033200"/>
              <a:ext cx="288000" cy="288000"/>
            </a:xfrm>
            <a:prstGeom prst="rect">
              <a:avLst/>
            </a:prstGeom>
          </p:spPr>
        </p:pic>
        <p:sp>
          <p:nvSpPr>
            <p:cNvPr id="197" name="Прямоугольник 196">
              <a:extLst>
                <a:ext uri="{FF2B5EF4-FFF2-40B4-BE49-F238E27FC236}">
                  <a16:creationId xmlns:a16="http://schemas.microsoft.com/office/drawing/2014/main" id="{746541A8-F671-2F48-9AA2-D7A4B6A1306B}"/>
                </a:ext>
              </a:extLst>
            </p:cNvPr>
            <p:cNvSpPr/>
            <p:nvPr userDrawn="1"/>
          </p:nvSpPr>
          <p:spPr>
            <a:xfrm>
              <a:off x="-2567895" y="9612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98" name="TextBox 197">
              <a:extLst>
                <a:ext uri="{FF2B5EF4-FFF2-40B4-BE49-F238E27FC236}">
                  <a16:creationId xmlns:a16="http://schemas.microsoft.com/office/drawing/2014/main" id="{B883A239-187E-264D-93E3-03E7D26097FE}"/>
                </a:ext>
              </a:extLst>
            </p:cNvPr>
            <p:cNvSpPr txBox="1"/>
            <p:nvPr userDrawn="1"/>
          </p:nvSpPr>
          <p:spPr>
            <a:xfrm>
              <a:off x="-1963406" y="1061784"/>
              <a:ext cx="1439290" cy="230832"/>
            </a:xfrm>
            <a:prstGeom prst="rect">
              <a:avLst/>
            </a:prstGeom>
            <a:noFill/>
          </p:spPr>
          <p:txBody>
            <a:bodyPr wrap="square" rtlCol="0" anchor="ctr">
              <a:spAutoFit/>
            </a:bodyPr>
            <a:lstStyle/>
            <a:p>
              <a:r>
                <a:rPr lang="ru-RU" sz="900" b="1" dirty="0">
                  <a:solidFill>
                    <a:schemeClr val="bg1"/>
                  </a:solidFill>
                </a:rPr>
                <a:t>Календарь событий</a:t>
              </a:r>
            </a:p>
          </p:txBody>
        </p:sp>
        <p:pic>
          <p:nvPicPr>
            <p:cNvPr id="330" name="Рисунок 329">
              <a:extLst>
                <a:ext uri="{FF2B5EF4-FFF2-40B4-BE49-F238E27FC236}">
                  <a16:creationId xmlns:a16="http://schemas.microsoft.com/office/drawing/2014/main" id="{FE26512F-84A6-FF45-8DF7-756D6D3AD888}"/>
                </a:ext>
              </a:extLst>
            </p:cNvPr>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2396372" y="1033200"/>
              <a:ext cx="288000" cy="288000"/>
            </a:xfrm>
            <a:prstGeom prst="rect">
              <a:avLst/>
            </a:prstGeom>
          </p:spPr>
        </p:pic>
        <p:sp>
          <p:nvSpPr>
            <p:cNvPr id="118" name="Прямоугольник 117">
              <a:extLst>
                <a:ext uri="{FF2B5EF4-FFF2-40B4-BE49-F238E27FC236}">
                  <a16:creationId xmlns:a16="http://schemas.microsoft.com/office/drawing/2014/main" id="{D6EC83E3-EFBE-3E40-A296-12D7FD4C4D6D}"/>
                </a:ext>
              </a:extLst>
            </p:cNvPr>
            <p:cNvSpPr/>
            <p:nvPr userDrawn="1"/>
          </p:nvSpPr>
          <p:spPr>
            <a:xfrm>
              <a:off x="-5093665" y="48492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9" name="TextBox 128">
              <a:extLst>
                <a:ext uri="{FF2B5EF4-FFF2-40B4-BE49-F238E27FC236}">
                  <a16:creationId xmlns:a16="http://schemas.microsoft.com/office/drawing/2014/main" id="{492A81A1-7154-F944-9FAB-51B0E7A26CC0}"/>
                </a:ext>
              </a:extLst>
            </p:cNvPr>
            <p:cNvSpPr txBox="1"/>
            <p:nvPr userDrawn="1"/>
          </p:nvSpPr>
          <p:spPr>
            <a:xfrm>
              <a:off x="-4489176" y="49497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143" name="Рисунок 142">
              <a:extLst>
                <a:ext uri="{FF2B5EF4-FFF2-40B4-BE49-F238E27FC236}">
                  <a16:creationId xmlns:a16="http://schemas.microsoft.com/office/drawing/2014/main" id="{451983D5-6575-014D-891F-BD09BC63C47C}"/>
                </a:ext>
              </a:extLst>
            </p:cNvPr>
            <p:cNvPicPr>
              <a:picLocks noChangeAspect="1"/>
            </p:cNvPicPr>
            <p:nvPr userDrawn="1"/>
          </p:nvPicPr>
          <p:blipFill>
            <a:blip r:embed="rId18" cstate="hqprint">
              <a:extLst>
                <a:ext uri="{28A0092B-C50C-407E-A947-70E740481C1C}">
                  <a14:useLocalDpi xmlns:a14="http://schemas.microsoft.com/office/drawing/2010/main" val="0"/>
                </a:ext>
              </a:extLst>
            </a:blip>
            <a:stretch>
              <a:fillRect/>
            </a:stretch>
          </p:blipFill>
          <p:spPr>
            <a:xfrm>
              <a:off x="-4924394" y="4921200"/>
              <a:ext cx="288000" cy="288000"/>
            </a:xfrm>
            <a:prstGeom prst="rect">
              <a:avLst/>
            </a:prstGeom>
          </p:spPr>
        </p:pic>
        <p:sp>
          <p:nvSpPr>
            <p:cNvPr id="213" name="Прямоугольник 212">
              <a:extLst>
                <a:ext uri="{FF2B5EF4-FFF2-40B4-BE49-F238E27FC236}">
                  <a16:creationId xmlns:a16="http://schemas.microsoft.com/office/drawing/2014/main" id="{9E79646C-4B55-4E44-BCA2-EEC6BDF8EC27}"/>
                </a:ext>
              </a:extLst>
            </p:cNvPr>
            <p:cNvSpPr/>
            <p:nvPr userDrawn="1"/>
          </p:nvSpPr>
          <p:spPr>
            <a:xfrm>
              <a:off x="-2567895" y="48492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14" name="TextBox 213">
              <a:extLst>
                <a:ext uri="{FF2B5EF4-FFF2-40B4-BE49-F238E27FC236}">
                  <a16:creationId xmlns:a16="http://schemas.microsoft.com/office/drawing/2014/main" id="{7877A512-72E9-1749-90A5-C74086F31521}"/>
                </a:ext>
              </a:extLst>
            </p:cNvPr>
            <p:cNvSpPr txBox="1"/>
            <p:nvPr userDrawn="1"/>
          </p:nvSpPr>
          <p:spPr>
            <a:xfrm>
              <a:off x="-1963406" y="4949784"/>
              <a:ext cx="1439290" cy="230832"/>
            </a:xfrm>
            <a:prstGeom prst="rect">
              <a:avLst/>
            </a:prstGeom>
            <a:noFill/>
          </p:spPr>
          <p:txBody>
            <a:bodyPr wrap="square" rtlCol="0" anchor="ctr">
              <a:spAutoFit/>
            </a:bodyPr>
            <a:lstStyle/>
            <a:p>
              <a:r>
                <a:rPr lang="ru-RU" sz="900" b="1" dirty="0">
                  <a:solidFill>
                    <a:schemeClr val="bg1"/>
                  </a:solidFill>
                </a:rPr>
                <a:t>Пруденциальный офис</a:t>
              </a:r>
            </a:p>
          </p:txBody>
        </p:sp>
        <p:pic>
          <p:nvPicPr>
            <p:cNvPr id="332" name="Рисунок 331">
              <a:extLst>
                <a:ext uri="{FF2B5EF4-FFF2-40B4-BE49-F238E27FC236}">
                  <a16:creationId xmlns:a16="http://schemas.microsoft.com/office/drawing/2014/main" id="{7FD524C6-3EF6-3843-B04B-984B42047FA5}"/>
                </a:ext>
              </a:extLst>
            </p:cNvPr>
            <p:cNvPicPr>
              <a:picLocks noChangeAspect="1"/>
            </p:cNvPicPr>
            <p:nvPr userDrawn="1"/>
          </p:nvPicPr>
          <p:blipFill>
            <a:blip r:embed="rId19" cstate="hqprint">
              <a:extLst>
                <a:ext uri="{28A0092B-C50C-407E-A947-70E740481C1C}">
                  <a14:useLocalDpi xmlns:a14="http://schemas.microsoft.com/office/drawing/2010/main" val="0"/>
                </a:ext>
              </a:extLst>
            </a:blip>
            <a:stretch>
              <a:fillRect/>
            </a:stretch>
          </p:blipFill>
          <p:spPr>
            <a:xfrm>
              <a:off x="-2396372" y="4921200"/>
              <a:ext cx="288000" cy="288000"/>
            </a:xfrm>
            <a:prstGeom prst="rect">
              <a:avLst/>
            </a:prstGeom>
          </p:spPr>
        </p:pic>
        <p:sp>
          <p:nvSpPr>
            <p:cNvPr id="119" name="Прямоугольник 118">
              <a:extLst>
                <a:ext uri="{FF2B5EF4-FFF2-40B4-BE49-F238E27FC236}">
                  <a16:creationId xmlns:a16="http://schemas.microsoft.com/office/drawing/2014/main" id="{04B24462-DEAC-1B41-A199-31BAD37678FA}"/>
                </a:ext>
              </a:extLst>
            </p:cNvPr>
            <p:cNvSpPr/>
            <p:nvPr userDrawn="1"/>
          </p:nvSpPr>
          <p:spPr>
            <a:xfrm>
              <a:off x="-5093665" y="13932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0" name="TextBox 129">
              <a:extLst>
                <a:ext uri="{FF2B5EF4-FFF2-40B4-BE49-F238E27FC236}">
                  <a16:creationId xmlns:a16="http://schemas.microsoft.com/office/drawing/2014/main" id="{9B1B8B48-2F62-9744-BE30-90F20E05D2A8}"/>
                </a:ext>
              </a:extLst>
            </p:cNvPr>
            <p:cNvSpPr txBox="1"/>
            <p:nvPr userDrawn="1"/>
          </p:nvSpPr>
          <p:spPr>
            <a:xfrm>
              <a:off x="-4489176" y="14937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142" name="Рисунок 141">
              <a:extLst>
                <a:ext uri="{FF2B5EF4-FFF2-40B4-BE49-F238E27FC236}">
                  <a16:creationId xmlns:a16="http://schemas.microsoft.com/office/drawing/2014/main" id="{D8A78993-0C7C-0B48-9715-DF7273F90076}"/>
                </a:ext>
              </a:extLst>
            </p:cNvPr>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4924395" y="1465200"/>
              <a:ext cx="288000" cy="288000"/>
            </a:xfrm>
            <a:prstGeom prst="rect">
              <a:avLst/>
            </a:prstGeom>
          </p:spPr>
        </p:pic>
        <p:sp>
          <p:nvSpPr>
            <p:cNvPr id="201" name="Прямоугольник 200">
              <a:extLst>
                <a:ext uri="{FF2B5EF4-FFF2-40B4-BE49-F238E27FC236}">
                  <a16:creationId xmlns:a16="http://schemas.microsoft.com/office/drawing/2014/main" id="{C3F941D9-43D1-2F4A-8C21-F3882F82AD20}"/>
                </a:ext>
              </a:extLst>
            </p:cNvPr>
            <p:cNvSpPr/>
            <p:nvPr userDrawn="1"/>
          </p:nvSpPr>
          <p:spPr>
            <a:xfrm>
              <a:off x="-2567895" y="13932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02" name="TextBox 201">
              <a:extLst>
                <a:ext uri="{FF2B5EF4-FFF2-40B4-BE49-F238E27FC236}">
                  <a16:creationId xmlns:a16="http://schemas.microsoft.com/office/drawing/2014/main" id="{83287356-20D3-5342-9BB9-FB2A8135CA1B}"/>
                </a:ext>
              </a:extLst>
            </p:cNvPr>
            <p:cNvSpPr txBox="1"/>
            <p:nvPr userDrawn="1"/>
          </p:nvSpPr>
          <p:spPr>
            <a:xfrm>
              <a:off x="-1963406" y="1493784"/>
              <a:ext cx="1439290" cy="230832"/>
            </a:xfrm>
            <a:prstGeom prst="rect">
              <a:avLst/>
            </a:prstGeom>
            <a:noFill/>
          </p:spPr>
          <p:txBody>
            <a:bodyPr wrap="square" rtlCol="0" anchor="ctr">
              <a:spAutoFit/>
            </a:bodyPr>
            <a:lstStyle/>
            <a:p>
              <a:r>
                <a:rPr lang="ru-RU" sz="900" b="1" dirty="0">
                  <a:solidFill>
                    <a:schemeClr val="bg1"/>
                  </a:solidFill>
                </a:rPr>
                <a:t>Приоритеты недели</a:t>
              </a:r>
            </a:p>
          </p:txBody>
        </p:sp>
        <p:pic>
          <p:nvPicPr>
            <p:cNvPr id="334" name="Рисунок 333">
              <a:extLst>
                <a:ext uri="{FF2B5EF4-FFF2-40B4-BE49-F238E27FC236}">
                  <a16:creationId xmlns:a16="http://schemas.microsoft.com/office/drawing/2014/main" id="{E9A4BDFD-E859-8D42-9A54-4F15D6A68FB5}"/>
                </a:ext>
              </a:extLst>
            </p:cNvPr>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2396372" y="1465200"/>
              <a:ext cx="288000" cy="288000"/>
            </a:xfrm>
            <a:prstGeom prst="rect">
              <a:avLst/>
            </a:prstGeom>
          </p:spPr>
        </p:pic>
        <p:sp>
          <p:nvSpPr>
            <p:cNvPr id="120" name="Прямоугольник 119">
              <a:extLst>
                <a:ext uri="{FF2B5EF4-FFF2-40B4-BE49-F238E27FC236}">
                  <a16:creationId xmlns:a16="http://schemas.microsoft.com/office/drawing/2014/main" id="{A16E63B7-CF49-1744-822B-C5A24F1B4455}"/>
                </a:ext>
              </a:extLst>
            </p:cNvPr>
            <p:cNvSpPr/>
            <p:nvPr userDrawn="1"/>
          </p:nvSpPr>
          <p:spPr>
            <a:xfrm>
              <a:off x="-5093665" y="52812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1" name="TextBox 130">
              <a:extLst>
                <a:ext uri="{FF2B5EF4-FFF2-40B4-BE49-F238E27FC236}">
                  <a16:creationId xmlns:a16="http://schemas.microsoft.com/office/drawing/2014/main" id="{9D526FD2-5272-7A42-81E1-942A5E48A30E}"/>
                </a:ext>
              </a:extLst>
            </p:cNvPr>
            <p:cNvSpPr txBox="1"/>
            <p:nvPr userDrawn="1"/>
          </p:nvSpPr>
          <p:spPr>
            <a:xfrm>
              <a:off x="-4489176" y="53817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141" name="Рисунок 140">
              <a:extLst>
                <a:ext uri="{FF2B5EF4-FFF2-40B4-BE49-F238E27FC236}">
                  <a16:creationId xmlns:a16="http://schemas.microsoft.com/office/drawing/2014/main" id="{5BEDC640-F231-C647-9E2B-6E4B994B8033}"/>
                </a:ext>
              </a:extLst>
            </p:cNvPr>
            <p:cNvPicPr>
              <a:picLocks noChangeAspect="1"/>
            </p:cNvPicPr>
            <p:nvPr userDrawn="1"/>
          </p:nvPicPr>
          <p:blipFill>
            <a:blip r:embed="rId22" cstate="print">
              <a:extLst>
                <a:ext uri="{28A0092B-C50C-407E-A947-70E740481C1C}">
                  <a14:useLocalDpi xmlns:a14="http://schemas.microsoft.com/office/drawing/2010/main" val="0"/>
                </a:ext>
              </a:extLst>
            </a:blip>
            <a:stretch>
              <a:fillRect/>
            </a:stretch>
          </p:blipFill>
          <p:spPr>
            <a:xfrm>
              <a:off x="-4924395" y="5353200"/>
              <a:ext cx="288000" cy="288000"/>
            </a:xfrm>
            <a:prstGeom prst="rect">
              <a:avLst/>
            </a:prstGeom>
          </p:spPr>
        </p:pic>
        <p:sp>
          <p:nvSpPr>
            <p:cNvPr id="165" name="Прямоугольник 164">
              <a:extLst>
                <a:ext uri="{FF2B5EF4-FFF2-40B4-BE49-F238E27FC236}">
                  <a16:creationId xmlns:a16="http://schemas.microsoft.com/office/drawing/2014/main" id="{2990B3B4-D800-B246-8433-0950B5F8F4CC}"/>
                </a:ext>
              </a:extLst>
            </p:cNvPr>
            <p:cNvSpPr/>
            <p:nvPr userDrawn="1"/>
          </p:nvSpPr>
          <p:spPr>
            <a:xfrm>
              <a:off x="-2567895" y="52812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66" name="TextBox 165">
              <a:extLst>
                <a:ext uri="{FF2B5EF4-FFF2-40B4-BE49-F238E27FC236}">
                  <a16:creationId xmlns:a16="http://schemas.microsoft.com/office/drawing/2014/main" id="{6A6A5D67-506B-D140-A799-3E2678AE55A4}"/>
                </a:ext>
              </a:extLst>
            </p:cNvPr>
            <p:cNvSpPr txBox="1"/>
            <p:nvPr userDrawn="1"/>
          </p:nvSpPr>
          <p:spPr>
            <a:xfrm>
              <a:off x="-1963406" y="5381784"/>
              <a:ext cx="1439290" cy="230832"/>
            </a:xfrm>
            <a:prstGeom prst="rect">
              <a:avLst/>
            </a:prstGeom>
            <a:noFill/>
          </p:spPr>
          <p:txBody>
            <a:bodyPr wrap="square" rtlCol="0" anchor="ctr">
              <a:spAutoFit/>
            </a:bodyPr>
            <a:lstStyle/>
            <a:p>
              <a:r>
                <a:rPr lang="en-US" sz="900" b="1" dirty="0">
                  <a:solidFill>
                    <a:schemeClr val="bg1"/>
                  </a:solidFill>
                </a:rPr>
                <a:t>IT-</a:t>
              </a:r>
              <a:r>
                <a:rPr lang="ru-RU" sz="900" b="1" dirty="0">
                  <a:solidFill>
                    <a:schemeClr val="bg1"/>
                  </a:solidFill>
                </a:rPr>
                <a:t>внедрения</a:t>
              </a:r>
            </a:p>
          </p:txBody>
        </p:sp>
        <p:pic>
          <p:nvPicPr>
            <p:cNvPr id="336" name="Рисунок 335">
              <a:extLst>
                <a:ext uri="{FF2B5EF4-FFF2-40B4-BE49-F238E27FC236}">
                  <a16:creationId xmlns:a16="http://schemas.microsoft.com/office/drawing/2014/main" id="{5281E1D3-E28C-8746-BC62-E7C985CE77FC}"/>
                </a:ext>
              </a:extLst>
            </p:cNvPr>
            <p:cNvPicPr>
              <a:picLocks noChangeAspect="1"/>
            </p:cNvPicPr>
            <p:nvPr userDrawn="1"/>
          </p:nvPicPr>
          <p:blipFill>
            <a:blip r:embed="rId23" cstate="print">
              <a:extLst>
                <a:ext uri="{28A0092B-C50C-407E-A947-70E740481C1C}">
                  <a14:useLocalDpi xmlns:a14="http://schemas.microsoft.com/office/drawing/2010/main" val="0"/>
                </a:ext>
              </a:extLst>
            </a:blip>
            <a:stretch>
              <a:fillRect/>
            </a:stretch>
          </p:blipFill>
          <p:spPr>
            <a:xfrm>
              <a:off x="-2396372" y="5353200"/>
              <a:ext cx="288000" cy="288000"/>
            </a:xfrm>
            <a:prstGeom prst="rect">
              <a:avLst/>
            </a:prstGeom>
          </p:spPr>
        </p:pic>
        <p:sp>
          <p:nvSpPr>
            <p:cNvPr id="121" name="Прямоугольник 120">
              <a:extLst>
                <a:ext uri="{FF2B5EF4-FFF2-40B4-BE49-F238E27FC236}">
                  <a16:creationId xmlns:a16="http://schemas.microsoft.com/office/drawing/2014/main" id="{B5384705-97FD-994A-898C-75CFF06C53B7}"/>
                </a:ext>
              </a:extLst>
            </p:cNvPr>
            <p:cNvSpPr/>
            <p:nvPr userDrawn="1"/>
          </p:nvSpPr>
          <p:spPr>
            <a:xfrm>
              <a:off x="-5093665" y="5292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2" name="TextBox 131">
              <a:extLst>
                <a:ext uri="{FF2B5EF4-FFF2-40B4-BE49-F238E27FC236}">
                  <a16:creationId xmlns:a16="http://schemas.microsoft.com/office/drawing/2014/main" id="{C13090A7-6507-A64B-B919-790EF1493424}"/>
                </a:ext>
              </a:extLst>
            </p:cNvPr>
            <p:cNvSpPr txBox="1"/>
            <p:nvPr userDrawn="1"/>
          </p:nvSpPr>
          <p:spPr>
            <a:xfrm>
              <a:off x="-4489176" y="6297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140" name="Рисунок 139">
              <a:extLst>
                <a:ext uri="{FF2B5EF4-FFF2-40B4-BE49-F238E27FC236}">
                  <a16:creationId xmlns:a16="http://schemas.microsoft.com/office/drawing/2014/main" id="{F98EFA87-BD59-A44A-BFA7-190F7C8BE2CC}"/>
                </a:ext>
              </a:extLst>
            </p:cNvPr>
            <p:cNvPicPr>
              <a:picLocks noChangeAspect="1"/>
            </p:cNvPicPr>
            <p:nvPr userDrawn="1"/>
          </p:nvPicPr>
          <p:blipFill>
            <a:blip r:embed="rId24" cstate="hqprint">
              <a:extLst>
                <a:ext uri="{28A0092B-C50C-407E-A947-70E740481C1C}">
                  <a14:useLocalDpi xmlns:a14="http://schemas.microsoft.com/office/drawing/2010/main" val="0"/>
                </a:ext>
              </a:extLst>
            </a:blip>
            <a:stretch>
              <a:fillRect/>
            </a:stretch>
          </p:blipFill>
          <p:spPr>
            <a:xfrm>
              <a:off x="-4924394" y="601200"/>
              <a:ext cx="288000" cy="288000"/>
            </a:xfrm>
            <a:prstGeom prst="rect">
              <a:avLst/>
            </a:prstGeom>
          </p:spPr>
        </p:pic>
        <p:sp>
          <p:nvSpPr>
            <p:cNvPr id="189" name="Прямоугольник 188">
              <a:extLst>
                <a:ext uri="{FF2B5EF4-FFF2-40B4-BE49-F238E27FC236}">
                  <a16:creationId xmlns:a16="http://schemas.microsoft.com/office/drawing/2014/main" id="{D741B3A2-E329-1F44-816B-BE37A24E34E9}"/>
                </a:ext>
              </a:extLst>
            </p:cNvPr>
            <p:cNvSpPr/>
            <p:nvPr userDrawn="1"/>
          </p:nvSpPr>
          <p:spPr>
            <a:xfrm>
              <a:off x="-2567895" y="5292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90" name="TextBox 189">
              <a:extLst>
                <a:ext uri="{FF2B5EF4-FFF2-40B4-BE49-F238E27FC236}">
                  <a16:creationId xmlns:a16="http://schemas.microsoft.com/office/drawing/2014/main" id="{7B8AA586-144C-4746-AD9F-F13CC405DCCE}"/>
                </a:ext>
              </a:extLst>
            </p:cNvPr>
            <p:cNvSpPr txBox="1"/>
            <p:nvPr userDrawn="1"/>
          </p:nvSpPr>
          <p:spPr>
            <a:xfrm>
              <a:off x="-1963406" y="629784"/>
              <a:ext cx="1439290" cy="230832"/>
            </a:xfrm>
            <a:prstGeom prst="rect">
              <a:avLst/>
            </a:prstGeom>
            <a:noFill/>
          </p:spPr>
          <p:txBody>
            <a:bodyPr wrap="square" rtlCol="0" anchor="ctr">
              <a:spAutoFit/>
            </a:bodyPr>
            <a:lstStyle/>
            <a:p>
              <a:r>
                <a:rPr lang="ru-RU" sz="900" b="1" dirty="0">
                  <a:solidFill>
                    <a:schemeClr val="bg1"/>
                  </a:solidFill>
                </a:rPr>
                <a:t>Мониторинг КПЭ</a:t>
              </a:r>
            </a:p>
          </p:txBody>
        </p:sp>
        <p:pic>
          <p:nvPicPr>
            <p:cNvPr id="338" name="Рисунок 337">
              <a:extLst>
                <a:ext uri="{FF2B5EF4-FFF2-40B4-BE49-F238E27FC236}">
                  <a16:creationId xmlns:a16="http://schemas.microsoft.com/office/drawing/2014/main" id="{6AD49057-C1CD-B44A-AF66-D972E201F0ED}"/>
                </a:ext>
              </a:extLst>
            </p:cNvPr>
            <p:cNvPicPr>
              <a:picLocks noChangeAspect="1"/>
            </p:cNvPicPr>
            <p:nvPr userDrawn="1"/>
          </p:nvPicPr>
          <p:blipFill>
            <a:blip r:embed="rId25" cstate="hqprint">
              <a:extLst>
                <a:ext uri="{28A0092B-C50C-407E-A947-70E740481C1C}">
                  <a14:useLocalDpi xmlns:a14="http://schemas.microsoft.com/office/drawing/2010/main" val="0"/>
                </a:ext>
              </a:extLst>
            </a:blip>
            <a:stretch>
              <a:fillRect/>
            </a:stretch>
          </p:blipFill>
          <p:spPr>
            <a:xfrm>
              <a:off x="-2396372" y="601200"/>
              <a:ext cx="288000" cy="288000"/>
            </a:xfrm>
            <a:prstGeom prst="rect">
              <a:avLst/>
            </a:prstGeom>
          </p:spPr>
        </p:pic>
        <p:sp>
          <p:nvSpPr>
            <p:cNvPr id="124" name="Прямоугольник 123">
              <a:extLst>
                <a:ext uri="{FF2B5EF4-FFF2-40B4-BE49-F238E27FC236}">
                  <a16:creationId xmlns:a16="http://schemas.microsoft.com/office/drawing/2014/main" id="{8F81D259-5F68-E844-A80B-AF91C96F14A8}"/>
                </a:ext>
              </a:extLst>
            </p:cNvPr>
            <p:cNvSpPr/>
            <p:nvPr userDrawn="1"/>
          </p:nvSpPr>
          <p:spPr>
            <a:xfrm>
              <a:off x="-5093665" y="57132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5" name="TextBox 134">
              <a:extLst>
                <a:ext uri="{FF2B5EF4-FFF2-40B4-BE49-F238E27FC236}">
                  <a16:creationId xmlns:a16="http://schemas.microsoft.com/office/drawing/2014/main" id="{AB143CA4-A188-3848-BB0B-A3FA835D841D}"/>
                </a:ext>
              </a:extLst>
            </p:cNvPr>
            <p:cNvSpPr txBox="1"/>
            <p:nvPr userDrawn="1"/>
          </p:nvSpPr>
          <p:spPr>
            <a:xfrm>
              <a:off x="-4489176" y="58137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137" name="Рисунок 136">
              <a:extLst>
                <a:ext uri="{FF2B5EF4-FFF2-40B4-BE49-F238E27FC236}">
                  <a16:creationId xmlns:a16="http://schemas.microsoft.com/office/drawing/2014/main" id="{90510E33-CA11-F14E-A863-2DF7B4082C59}"/>
                </a:ext>
              </a:extLst>
            </p:cNvPr>
            <p:cNvPicPr>
              <a:picLocks noChangeAspect="1"/>
            </p:cNvPicPr>
            <p:nvPr userDrawn="1"/>
          </p:nvPicPr>
          <p:blipFill>
            <a:blip r:embed="rId26" cstate="print">
              <a:extLst>
                <a:ext uri="{28A0092B-C50C-407E-A947-70E740481C1C}">
                  <a14:useLocalDpi xmlns:a14="http://schemas.microsoft.com/office/drawing/2010/main" val="0"/>
                </a:ext>
              </a:extLst>
            </a:blip>
            <a:stretch>
              <a:fillRect/>
            </a:stretch>
          </p:blipFill>
          <p:spPr>
            <a:xfrm>
              <a:off x="-4924394" y="5785200"/>
              <a:ext cx="288000" cy="288000"/>
            </a:xfrm>
            <a:prstGeom prst="rect">
              <a:avLst/>
            </a:prstGeom>
          </p:spPr>
        </p:pic>
        <p:sp>
          <p:nvSpPr>
            <p:cNvPr id="217" name="Прямоугольник 216">
              <a:extLst>
                <a:ext uri="{FF2B5EF4-FFF2-40B4-BE49-F238E27FC236}">
                  <a16:creationId xmlns:a16="http://schemas.microsoft.com/office/drawing/2014/main" id="{55F1BF3E-C3B7-584A-A6F9-EC8004508276}"/>
                </a:ext>
              </a:extLst>
            </p:cNvPr>
            <p:cNvSpPr/>
            <p:nvPr userDrawn="1"/>
          </p:nvSpPr>
          <p:spPr>
            <a:xfrm>
              <a:off x="-2567895" y="57132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18" name="TextBox 217">
              <a:extLst>
                <a:ext uri="{FF2B5EF4-FFF2-40B4-BE49-F238E27FC236}">
                  <a16:creationId xmlns:a16="http://schemas.microsoft.com/office/drawing/2014/main" id="{AC821BF5-A328-5B4E-9D52-F365F9EE0893}"/>
                </a:ext>
              </a:extLst>
            </p:cNvPr>
            <p:cNvSpPr txBox="1"/>
            <p:nvPr userDrawn="1"/>
          </p:nvSpPr>
          <p:spPr>
            <a:xfrm>
              <a:off x="-1963406" y="5813784"/>
              <a:ext cx="1439290" cy="230832"/>
            </a:xfrm>
            <a:prstGeom prst="rect">
              <a:avLst/>
            </a:prstGeom>
            <a:noFill/>
          </p:spPr>
          <p:txBody>
            <a:bodyPr wrap="square" rtlCol="0" anchor="ctr">
              <a:spAutoFit/>
            </a:bodyPr>
            <a:lstStyle/>
            <a:p>
              <a:r>
                <a:rPr lang="en-US" sz="900" b="1" dirty="0">
                  <a:solidFill>
                    <a:schemeClr val="bg1"/>
                  </a:solidFill>
                </a:rPr>
                <a:t>Housekeeping dashboard</a:t>
              </a:r>
              <a:endParaRPr lang="ru-RU" sz="900" b="1" dirty="0">
                <a:solidFill>
                  <a:schemeClr val="bg1"/>
                </a:solidFill>
              </a:endParaRPr>
            </a:p>
          </p:txBody>
        </p:sp>
        <p:pic>
          <p:nvPicPr>
            <p:cNvPr id="340" name="Рисунок 339">
              <a:extLst>
                <a:ext uri="{FF2B5EF4-FFF2-40B4-BE49-F238E27FC236}">
                  <a16:creationId xmlns:a16="http://schemas.microsoft.com/office/drawing/2014/main" id="{F1B954CD-F432-3F4D-8A1B-A1646C40FEF4}"/>
                </a:ext>
              </a:extLst>
            </p:cNvPr>
            <p:cNvPicPr>
              <a:picLocks noChangeAspect="1"/>
            </p:cNvPicPr>
            <p:nvPr userDrawn="1"/>
          </p:nvPicPr>
          <p:blipFill>
            <a:blip r:embed="rId27" cstate="print">
              <a:extLst>
                <a:ext uri="{28A0092B-C50C-407E-A947-70E740481C1C}">
                  <a14:useLocalDpi xmlns:a14="http://schemas.microsoft.com/office/drawing/2010/main" val="0"/>
                </a:ext>
              </a:extLst>
            </a:blip>
            <a:stretch>
              <a:fillRect/>
            </a:stretch>
          </p:blipFill>
          <p:spPr>
            <a:xfrm>
              <a:off x="-2396372" y="5785200"/>
              <a:ext cx="288000" cy="288000"/>
            </a:xfrm>
            <a:prstGeom prst="rect">
              <a:avLst/>
            </a:prstGeom>
          </p:spPr>
        </p:pic>
        <p:sp>
          <p:nvSpPr>
            <p:cNvPr id="125" name="Прямоугольник 124">
              <a:extLst>
                <a:ext uri="{FF2B5EF4-FFF2-40B4-BE49-F238E27FC236}">
                  <a16:creationId xmlns:a16="http://schemas.microsoft.com/office/drawing/2014/main" id="{F8BA2D93-3381-3F41-A673-E1B470476389}"/>
                </a:ext>
              </a:extLst>
            </p:cNvPr>
            <p:cNvSpPr/>
            <p:nvPr userDrawn="1"/>
          </p:nvSpPr>
          <p:spPr>
            <a:xfrm>
              <a:off x="-5093665" y="61452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6" name="TextBox 135">
              <a:extLst>
                <a:ext uri="{FF2B5EF4-FFF2-40B4-BE49-F238E27FC236}">
                  <a16:creationId xmlns:a16="http://schemas.microsoft.com/office/drawing/2014/main" id="{CF97D0CF-B80E-4846-ABF6-06736C7556E8}"/>
                </a:ext>
              </a:extLst>
            </p:cNvPr>
            <p:cNvSpPr txBox="1"/>
            <p:nvPr userDrawn="1"/>
          </p:nvSpPr>
          <p:spPr>
            <a:xfrm>
              <a:off x="-4489176" y="62457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146" name="Рисунок 145">
              <a:extLst>
                <a:ext uri="{FF2B5EF4-FFF2-40B4-BE49-F238E27FC236}">
                  <a16:creationId xmlns:a16="http://schemas.microsoft.com/office/drawing/2014/main" id="{A987CB5B-BE98-A342-BE63-2B9C70A990B1}"/>
                </a:ext>
              </a:extLst>
            </p:cNvPr>
            <p:cNvPicPr>
              <a:picLocks noChangeAspect="1"/>
            </p:cNvPicPr>
            <p:nvPr userDrawn="1"/>
          </p:nvPicPr>
          <p:blipFill>
            <a:blip r:embed="rId28" cstate="print">
              <a:extLst>
                <a:ext uri="{28A0092B-C50C-407E-A947-70E740481C1C}">
                  <a14:useLocalDpi xmlns:a14="http://schemas.microsoft.com/office/drawing/2010/main" val="0"/>
                </a:ext>
              </a:extLst>
            </a:blip>
            <a:stretch>
              <a:fillRect/>
            </a:stretch>
          </p:blipFill>
          <p:spPr>
            <a:xfrm>
              <a:off x="-4924394" y="6217200"/>
              <a:ext cx="288000" cy="288000"/>
            </a:xfrm>
            <a:prstGeom prst="rect">
              <a:avLst/>
            </a:prstGeom>
          </p:spPr>
        </p:pic>
        <p:sp>
          <p:nvSpPr>
            <p:cNvPr id="161" name="Прямоугольник 160">
              <a:extLst>
                <a:ext uri="{FF2B5EF4-FFF2-40B4-BE49-F238E27FC236}">
                  <a16:creationId xmlns:a16="http://schemas.microsoft.com/office/drawing/2014/main" id="{D8A668F4-7A40-354E-9F3F-F546A77CD83E}"/>
                </a:ext>
              </a:extLst>
            </p:cNvPr>
            <p:cNvSpPr/>
            <p:nvPr userDrawn="1"/>
          </p:nvSpPr>
          <p:spPr>
            <a:xfrm>
              <a:off x="-2567895" y="61452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62" name="TextBox 161">
              <a:extLst>
                <a:ext uri="{FF2B5EF4-FFF2-40B4-BE49-F238E27FC236}">
                  <a16:creationId xmlns:a16="http://schemas.microsoft.com/office/drawing/2014/main" id="{42FAF9B6-A2BA-2543-B4B0-80B4978F0E11}"/>
                </a:ext>
              </a:extLst>
            </p:cNvPr>
            <p:cNvSpPr txBox="1"/>
            <p:nvPr userDrawn="1"/>
          </p:nvSpPr>
          <p:spPr>
            <a:xfrm>
              <a:off x="-1963406" y="6245784"/>
              <a:ext cx="1439290" cy="230832"/>
            </a:xfrm>
            <a:prstGeom prst="rect">
              <a:avLst/>
            </a:prstGeom>
            <a:noFill/>
          </p:spPr>
          <p:txBody>
            <a:bodyPr wrap="square" rtlCol="0" anchor="ctr">
              <a:spAutoFit/>
            </a:bodyPr>
            <a:lstStyle/>
            <a:p>
              <a:r>
                <a:rPr lang="ru-RU" sz="900" b="1" dirty="0">
                  <a:solidFill>
                    <a:schemeClr val="bg1"/>
                  </a:solidFill>
                </a:rPr>
                <a:t>Дополнительно</a:t>
              </a:r>
            </a:p>
          </p:txBody>
        </p:sp>
        <p:pic>
          <p:nvPicPr>
            <p:cNvPr id="342" name="Рисунок 341">
              <a:extLst>
                <a:ext uri="{FF2B5EF4-FFF2-40B4-BE49-F238E27FC236}">
                  <a16:creationId xmlns:a16="http://schemas.microsoft.com/office/drawing/2014/main" id="{7BFE5B7C-FBDE-6546-BA3D-8114632BF92E}"/>
                </a:ext>
              </a:extLst>
            </p:cNvPr>
            <p:cNvPicPr>
              <a:picLocks noChangeAspect="1"/>
            </p:cNvPicPr>
            <p:nvPr userDrawn="1"/>
          </p:nvPicPr>
          <p:blipFill>
            <a:blip r:embed="rId29" cstate="print">
              <a:extLst>
                <a:ext uri="{28A0092B-C50C-407E-A947-70E740481C1C}">
                  <a14:useLocalDpi xmlns:a14="http://schemas.microsoft.com/office/drawing/2010/main" val="0"/>
                </a:ext>
              </a:extLst>
            </a:blip>
            <a:stretch>
              <a:fillRect/>
            </a:stretch>
          </p:blipFill>
          <p:spPr>
            <a:xfrm>
              <a:off x="-2396372" y="6217200"/>
              <a:ext cx="288000" cy="288000"/>
            </a:xfrm>
            <a:prstGeom prst="rect">
              <a:avLst/>
            </a:prstGeom>
          </p:spPr>
        </p:pic>
      </p:grpSp>
      <p:sp>
        <p:nvSpPr>
          <p:cNvPr id="207" name="Прямоугольник 206">
            <a:extLst>
              <a:ext uri="{FF2B5EF4-FFF2-40B4-BE49-F238E27FC236}">
                <a16:creationId xmlns:a16="http://schemas.microsoft.com/office/drawing/2014/main" id="{0A0A5862-03DB-A440-A69A-FAD6F62D35C2}"/>
              </a:ext>
            </a:extLst>
          </p:cNvPr>
          <p:cNvSpPr/>
          <p:nvPr userDrawn="1"/>
        </p:nvSpPr>
        <p:spPr>
          <a:xfrm>
            <a:off x="0" y="313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08" name="TextBox 207">
            <a:extLst>
              <a:ext uri="{FF2B5EF4-FFF2-40B4-BE49-F238E27FC236}">
                <a16:creationId xmlns:a16="http://schemas.microsoft.com/office/drawing/2014/main" id="{42C836AA-8970-C349-863B-6E901350852B}"/>
              </a:ext>
            </a:extLst>
          </p:cNvPr>
          <p:cNvSpPr txBox="1"/>
          <p:nvPr userDrawn="1"/>
        </p:nvSpPr>
        <p:spPr>
          <a:xfrm>
            <a:off x="604489" y="32325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211" name="Рисунок 210">
            <a:extLst>
              <a:ext uri="{FF2B5EF4-FFF2-40B4-BE49-F238E27FC236}">
                <a16:creationId xmlns:a16="http://schemas.microsoft.com/office/drawing/2014/main" id="{23722B29-4A6A-D04F-9A91-9F31C700AF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3204000"/>
            <a:ext cx="288000" cy="288000"/>
          </a:xfrm>
          <a:prstGeom prst="rect">
            <a:avLst/>
          </a:prstGeom>
        </p:spPr>
      </p:pic>
      <p:sp>
        <p:nvSpPr>
          <p:cNvPr id="212" name="Прямоугольник 211">
            <a:extLst>
              <a:ext uri="{FF2B5EF4-FFF2-40B4-BE49-F238E27FC236}">
                <a16:creationId xmlns:a16="http://schemas.microsoft.com/office/drawing/2014/main" id="{968152FB-9C8C-0141-9784-F761E39A9120}"/>
              </a:ext>
            </a:extLst>
          </p:cNvPr>
          <p:cNvSpPr/>
          <p:nvPr userDrawn="1"/>
        </p:nvSpPr>
        <p:spPr>
          <a:xfrm>
            <a:off x="0" y="270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15" name="TextBox 214">
            <a:extLst>
              <a:ext uri="{FF2B5EF4-FFF2-40B4-BE49-F238E27FC236}">
                <a16:creationId xmlns:a16="http://schemas.microsoft.com/office/drawing/2014/main" id="{5CBBF507-561A-4140-8F9A-30016B3EB579}"/>
              </a:ext>
            </a:extLst>
          </p:cNvPr>
          <p:cNvSpPr txBox="1"/>
          <p:nvPr userDrawn="1"/>
        </p:nvSpPr>
        <p:spPr>
          <a:xfrm>
            <a:off x="604489" y="28005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216" name="Рисунок 215">
            <a:extLst>
              <a:ext uri="{FF2B5EF4-FFF2-40B4-BE49-F238E27FC236}">
                <a16:creationId xmlns:a16="http://schemas.microsoft.com/office/drawing/2014/main" id="{EEE81BA0-F509-AF40-BDE7-B6EB56C0877A}"/>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69271" y="2772000"/>
            <a:ext cx="288000" cy="288000"/>
          </a:xfrm>
          <a:prstGeom prst="rect">
            <a:avLst/>
          </a:prstGeom>
        </p:spPr>
      </p:pic>
      <p:sp>
        <p:nvSpPr>
          <p:cNvPr id="219" name="Прямоугольник 218">
            <a:extLst>
              <a:ext uri="{FF2B5EF4-FFF2-40B4-BE49-F238E27FC236}">
                <a16:creationId xmlns:a16="http://schemas.microsoft.com/office/drawing/2014/main" id="{65A89517-AD68-8D4B-A470-8E49B6A32360}"/>
              </a:ext>
            </a:extLst>
          </p:cNvPr>
          <p:cNvSpPr/>
          <p:nvPr userDrawn="1"/>
        </p:nvSpPr>
        <p:spPr>
          <a:xfrm>
            <a:off x="0" y="226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20" name="TextBox 219">
            <a:extLst>
              <a:ext uri="{FF2B5EF4-FFF2-40B4-BE49-F238E27FC236}">
                <a16:creationId xmlns:a16="http://schemas.microsoft.com/office/drawing/2014/main" id="{B3A7A76B-3DC5-F34E-BA0C-5C87135B9EF0}"/>
              </a:ext>
            </a:extLst>
          </p:cNvPr>
          <p:cNvSpPr txBox="1"/>
          <p:nvPr userDrawn="1"/>
        </p:nvSpPr>
        <p:spPr>
          <a:xfrm>
            <a:off x="604489" y="22993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221" name="Рисунок 220">
            <a:extLst>
              <a:ext uri="{FF2B5EF4-FFF2-40B4-BE49-F238E27FC236}">
                <a16:creationId xmlns:a16="http://schemas.microsoft.com/office/drawing/2014/main" id="{AC30EFA7-9B2C-534C-8F71-FE4498E26738}"/>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169271" y="2340000"/>
            <a:ext cx="288000" cy="288000"/>
          </a:xfrm>
          <a:prstGeom prst="rect">
            <a:avLst/>
          </a:prstGeom>
        </p:spPr>
      </p:pic>
      <p:sp>
        <p:nvSpPr>
          <p:cNvPr id="222" name="Прямоугольник 221">
            <a:extLst>
              <a:ext uri="{FF2B5EF4-FFF2-40B4-BE49-F238E27FC236}">
                <a16:creationId xmlns:a16="http://schemas.microsoft.com/office/drawing/2014/main" id="{B4024505-4889-AA44-B923-120D73D4BD01}"/>
              </a:ext>
            </a:extLst>
          </p:cNvPr>
          <p:cNvSpPr/>
          <p:nvPr userDrawn="1"/>
        </p:nvSpPr>
        <p:spPr>
          <a:xfrm>
            <a:off x="0" y="183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23" name="TextBox 222">
            <a:extLst>
              <a:ext uri="{FF2B5EF4-FFF2-40B4-BE49-F238E27FC236}">
                <a16:creationId xmlns:a16="http://schemas.microsoft.com/office/drawing/2014/main" id="{A5D25E99-9377-A544-80A1-12016A7AA5DD}"/>
              </a:ext>
            </a:extLst>
          </p:cNvPr>
          <p:cNvSpPr txBox="1"/>
          <p:nvPr userDrawn="1"/>
        </p:nvSpPr>
        <p:spPr>
          <a:xfrm>
            <a:off x="604489" y="18673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224" name="Рисунок 223">
            <a:extLst>
              <a:ext uri="{FF2B5EF4-FFF2-40B4-BE49-F238E27FC236}">
                <a16:creationId xmlns:a16="http://schemas.microsoft.com/office/drawing/2014/main" id="{DC1DF41E-13AD-1347-8110-FB771122975D}"/>
              </a:ext>
            </a:extLst>
          </p:cNvPr>
          <p:cNvPicPr>
            <a:picLocks noChangeAspect="1"/>
          </p:cNvPicPr>
          <p:nvPr userDrawn="1"/>
        </p:nvPicPr>
        <p:blipFill>
          <a:blip r:embed="rId8" cstate="hqprint">
            <a:extLst>
              <a:ext uri="{28A0092B-C50C-407E-A947-70E740481C1C}">
                <a14:useLocalDpi xmlns:a14="http://schemas.microsoft.com/office/drawing/2010/main" val="0"/>
              </a:ext>
            </a:extLst>
          </a:blip>
          <a:stretch>
            <a:fillRect/>
          </a:stretch>
        </p:blipFill>
        <p:spPr>
          <a:xfrm>
            <a:off x="169271" y="1908000"/>
            <a:ext cx="288000" cy="288000"/>
          </a:xfrm>
          <a:prstGeom prst="rect">
            <a:avLst/>
          </a:prstGeom>
        </p:spPr>
      </p:pic>
      <p:sp>
        <p:nvSpPr>
          <p:cNvPr id="225" name="Прямоугольник 224">
            <a:extLst>
              <a:ext uri="{FF2B5EF4-FFF2-40B4-BE49-F238E27FC236}">
                <a16:creationId xmlns:a16="http://schemas.microsoft.com/office/drawing/2014/main" id="{AED58F0E-5BCE-5044-B8AD-3D907988CCD2}"/>
              </a:ext>
            </a:extLst>
          </p:cNvPr>
          <p:cNvSpPr/>
          <p:nvPr userDrawn="1"/>
        </p:nvSpPr>
        <p:spPr>
          <a:xfrm>
            <a:off x="0" y="442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26" name="TextBox 225">
            <a:extLst>
              <a:ext uri="{FF2B5EF4-FFF2-40B4-BE49-F238E27FC236}">
                <a16:creationId xmlns:a16="http://schemas.microsoft.com/office/drawing/2014/main" id="{72340C4A-2C86-9042-AB11-DA90A7C5D804}"/>
              </a:ext>
            </a:extLst>
          </p:cNvPr>
          <p:cNvSpPr txBox="1"/>
          <p:nvPr userDrawn="1"/>
        </p:nvSpPr>
        <p:spPr>
          <a:xfrm>
            <a:off x="604489" y="45285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227" name="Рисунок 226">
            <a:extLst>
              <a:ext uri="{FF2B5EF4-FFF2-40B4-BE49-F238E27FC236}">
                <a16:creationId xmlns:a16="http://schemas.microsoft.com/office/drawing/2014/main" id="{E0BDE77D-CC0B-6040-AAA5-8045D9F85A3D}"/>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69271" y="4500000"/>
            <a:ext cx="288000" cy="288000"/>
          </a:xfrm>
          <a:prstGeom prst="rect">
            <a:avLst/>
          </a:prstGeom>
        </p:spPr>
      </p:pic>
      <p:sp>
        <p:nvSpPr>
          <p:cNvPr id="228" name="Прямоугольник 227">
            <a:extLst>
              <a:ext uri="{FF2B5EF4-FFF2-40B4-BE49-F238E27FC236}">
                <a16:creationId xmlns:a16="http://schemas.microsoft.com/office/drawing/2014/main" id="{E1E48A4B-F12A-0944-94E6-5525B1575E20}"/>
              </a:ext>
            </a:extLst>
          </p:cNvPr>
          <p:cNvSpPr/>
          <p:nvPr userDrawn="1"/>
        </p:nvSpPr>
        <p:spPr>
          <a:xfrm>
            <a:off x="0" y="356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29" name="TextBox 228">
            <a:extLst>
              <a:ext uri="{FF2B5EF4-FFF2-40B4-BE49-F238E27FC236}">
                <a16:creationId xmlns:a16="http://schemas.microsoft.com/office/drawing/2014/main" id="{BB838640-8F34-B547-9D92-E06C6DD46C97}"/>
              </a:ext>
            </a:extLst>
          </p:cNvPr>
          <p:cNvSpPr txBox="1"/>
          <p:nvPr userDrawn="1"/>
        </p:nvSpPr>
        <p:spPr>
          <a:xfrm>
            <a:off x="604489" y="36645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230" name="Рисунок 229">
            <a:extLst>
              <a:ext uri="{FF2B5EF4-FFF2-40B4-BE49-F238E27FC236}">
                <a16:creationId xmlns:a16="http://schemas.microsoft.com/office/drawing/2014/main" id="{8B333188-16AB-7646-8A6A-05EB031C70B2}"/>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69271" y="3636000"/>
            <a:ext cx="288000" cy="288000"/>
          </a:xfrm>
          <a:prstGeom prst="rect">
            <a:avLst/>
          </a:prstGeom>
        </p:spPr>
      </p:pic>
      <p:sp>
        <p:nvSpPr>
          <p:cNvPr id="231" name="Прямоугольник 230">
            <a:extLst>
              <a:ext uri="{FF2B5EF4-FFF2-40B4-BE49-F238E27FC236}">
                <a16:creationId xmlns:a16="http://schemas.microsoft.com/office/drawing/2014/main" id="{A663349D-7BA6-3345-A25C-53166DA20F90}"/>
              </a:ext>
            </a:extLst>
          </p:cNvPr>
          <p:cNvSpPr/>
          <p:nvPr userDrawn="1"/>
        </p:nvSpPr>
        <p:spPr>
          <a:xfrm>
            <a:off x="0" y="399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32" name="TextBox 231">
            <a:extLst>
              <a:ext uri="{FF2B5EF4-FFF2-40B4-BE49-F238E27FC236}">
                <a16:creationId xmlns:a16="http://schemas.microsoft.com/office/drawing/2014/main" id="{3481EBA2-23C4-114D-91BB-A94A9E081374}"/>
              </a:ext>
            </a:extLst>
          </p:cNvPr>
          <p:cNvSpPr txBox="1"/>
          <p:nvPr userDrawn="1"/>
        </p:nvSpPr>
        <p:spPr>
          <a:xfrm>
            <a:off x="604489" y="40965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233" name="Рисунок 232">
            <a:extLst>
              <a:ext uri="{FF2B5EF4-FFF2-40B4-BE49-F238E27FC236}">
                <a16:creationId xmlns:a16="http://schemas.microsoft.com/office/drawing/2014/main" id="{11AA79E8-0299-AD4C-9045-DE365DA2CFDC}"/>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4068000"/>
            <a:ext cx="288000" cy="288000"/>
          </a:xfrm>
          <a:prstGeom prst="rect">
            <a:avLst/>
          </a:prstGeom>
        </p:spPr>
      </p:pic>
      <p:sp>
        <p:nvSpPr>
          <p:cNvPr id="234" name="Прямоугольник 233">
            <a:extLst>
              <a:ext uri="{FF2B5EF4-FFF2-40B4-BE49-F238E27FC236}">
                <a16:creationId xmlns:a16="http://schemas.microsoft.com/office/drawing/2014/main" id="{F12BD24E-BD37-DF43-B294-C89212BC587D}"/>
              </a:ext>
            </a:extLst>
          </p:cNvPr>
          <p:cNvSpPr/>
          <p:nvPr userDrawn="1"/>
        </p:nvSpPr>
        <p:spPr>
          <a:xfrm>
            <a:off x="0" y="97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35" name="TextBox 234">
            <a:extLst>
              <a:ext uri="{FF2B5EF4-FFF2-40B4-BE49-F238E27FC236}">
                <a16:creationId xmlns:a16="http://schemas.microsoft.com/office/drawing/2014/main" id="{681D3870-C128-4C48-AC42-5CAB252D82EF}"/>
              </a:ext>
            </a:extLst>
          </p:cNvPr>
          <p:cNvSpPr txBox="1"/>
          <p:nvPr userDrawn="1"/>
        </p:nvSpPr>
        <p:spPr>
          <a:xfrm>
            <a:off x="604489" y="10725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236" name="Рисунок 235">
            <a:extLst>
              <a:ext uri="{FF2B5EF4-FFF2-40B4-BE49-F238E27FC236}">
                <a16:creationId xmlns:a16="http://schemas.microsoft.com/office/drawing/2014/main" id="{A5E72FB6-4D59-394B-ACC0-813870D237AD}"/>
              </a:ext>
            </a:extLst>
          </p:cNvPr>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169271" y="1044000"/>
            <a:ext cx="288000" cy="288000"/>
          </a:xfrm>
          <a:prstGeom prst="rect">
            <a:avLst/>
          </a:prstGeom>
        </p:spPr>
      </p:pic>
      <p:sp>
        <p:nvSpPr>
          <p:cNvPr id="237" name="Прямоугольник 236">
            <a:extLst>
              <a:ext uri="{FF2B5EF4-FFF2-40B4-BE49-F238E27FC236}">
                <a16:creationId xmlns:a16="http://schemas.microsoft.com/office/drawing/2014/main" id="{F32BD1D7-6E30-CB40-8A38-FAB11E37DE00}"/>
              </a:ext>
            </a:extLst>
          </p:cNvPr>
          <p:cNvSpPr/>
          <p:nvPr userDrawn="1"/>
        </p:nvSpPr>
        <p:spPr>
          <a:xfrm>
            <a:off x="0" y="486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38" name="TextBox 237">
            <a:extLst>
              <a:ext uri="{FF2B5EF4-FFF2-40B4-BE49-F238E27FC236}">
                <a16:creationId xmlns:a16="http://schemas.microsoft.com/office/drawing/2014/main" id="{810B3434-A831-5D48-9A7B-8E2C231CE96E}"/>
              </a:ext>
            </a:extLst>
          </p:cNvPr>
          <p:cNvSpPr txBox="1"/>
          <p:nvPr userDrawn="1"/>
        </p:nvSpPr>
        <p:spPr>
          <a:xfrm>
            <a:off x="604489" y="49605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239" name="Рисунок 238">
            <a:extLst>
              <a:ext uri="{FF2B5EF4-FFF2-40B4-BE49-F238E27FC236}">
                <a16:creationId xmlns:a16="http://schemas.microsoft.com/office/drawing/2014/main" id="{94B4312E-88C9-9641-A630-B1ED93C0BB77}"/>
              </a:ext>
            </a:extLst>
          </p:cNvPr>
          <p:cNvPicPr>
            <a:picLocks noChangeAspect="1"/>
          </p:cNvPicPr>
          <p:nvPr userDrawn="1"/>
        </p:nvPicPr>
        <p:blipFill>
          <a:blip r:embed="rId18" cstate="hqprint">
            <a:extLst>
              <a:ext uri="{28A0092B-C50C-407E-A947-70E740481C1C}">
                <a14:useLocalDpi xmlns:a14="http://schemas.microsoft.com/office/drawing/2010/main" val="0"/>
              </a:ext>
            </a:extLst>
          </a:blip>
          <a:stretch>
            <a:fillRect/>
          </a:stretch>
        </p:blipFill>
        <p:spPr>
          <a:xfrm>
            <a:off x="169271" y="4932000"/>
            <a:ext cx="288000" cy="288000"/>
          </a:xfrm>
          <a:prstGeom prst="rect">
            <a:avLst/>
          </a:prstGeom>
        </p:spPr>
      </p:pic>
      <p:sp>
        <p:nvSpPr>
          <p:cNvPr id="240" name="Прямоугольник 239">
            <a:extLst>
              <a:ext uri="{FF2B5EF4-FFF2-40B4-BE49-F238E27FC236}">
                <a16:creationId xmlns:a16="http://schemas.microsoft.com/office/drawing/2014/main" id="{0E85EDA0-A6A8-B841-8A3E-89C73C214DEC}"/>
              </a:ext>
            </a:extLst>
          </p:cNvPr>
          <p:cNvSpPr/>
          <p:nvPr userDrawn="1"/>
        </p:nvSpPr>
        <p:spPr>
          <a:xfrm>
            <a:off x="0" y="140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41" name="TextBox 240">
            <a:extLst>
              <a:ext uri="{FF2B5EF4-FFF2-40B4-BE49-F238E27FC236}">
                <a16:creationId xmlns:a16="http://schemas.microsoft.com/office/drawing/2014/main" id="{1F03F0F9-E8AD-284C-B4B1-C66B2E49417B}"/>
              </a:ext>
            </a:extLst>
          </p:cNvPr>
          <p:cNvSpPr txBox="1"/>
          <p:nvPr userDrawn="1"/>
        </p:nvSpPr>
        <p:spPr>
          <a:xfrm>
            <a:off x="604489" y="15045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242" name="Рисунок 241">
            <a:extLst>
              <a:ext uri="{FF2B5EF4-FFF2-40B4-BE49-F238E27FC236}">
                <a16:creationId xmlns:a16="http://schemas.microsoft.com/office/drawing/2014/main" id="{E736CA39-155B-1E43-B0E4-7E085570FAB5}"/>
              </a:ext>
            </a:extLst>
          </p:cNvPr>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169270" y="1476000"/>
            <a:ext cx="288000" cy="288000"/>
          </a:xfrm>
          <a:prstGeom prst="rect">
            <a:avLst/>
          </a:prstGeom>
        </p:spPr>
      </p:pic>
      <p:sp>
        <p:nvSpPr>
          <p:cNvPr id="243" name="Прямоугольник 242">
            <a:extLst>
              <a:ext uri="{FF2B5EF4-FFF2-40B4-BE49-F238E27FC236}">
                <a16:creationId xmlns:a16="http://schemas.microsoft.com/office/drawing/2014/main" id="{08357720-E8B4-E948-A2B3-4976B5918BFE}"/>
              </a:ext>
            </a:extLst>
          </p:cNvPr>
          <p:cNvSpPr/>
          <p:nvPr userDrawn="1"/>
        </p:nvSpPr>
        <p:spPr>
          <a:xfrm>
            <a:off x="0" y="529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44" name="TextBox 243">
            <a:extLst>
              <a:ext uri="{FF2B5EF4-FFF2-40B4-BE49-F238E27FC236}">
                <a16:creationId xmlns:a16="http://schemas.microsoft.com/office/drawing/2014/main" id="{C68115D2-7233-5F40-8AFD-9294540BCBF8}"/>
              </a:ext>
            </a:extLst>
          </p:cNvPr>
          <p:cNvSpPr txBox="1"/>
          <p:nvPr userDrawn="1"/>
        </p:nvSpPr>
        <p:spPr>
          <a:xfrm>
            <a:off x="604489" y="53925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245" name="Рисунок 244">
            <a:extLst>
              <a:ext uri="{FF2B5EF4-FFF2-40B4-BE49-F238E27FC236}">
                <a16:creationId xmlns:a16="http://schemas.microsoft.com/office/drawing/2014/main" id="{7210B3AA-B3BB-F942-B2E6-3D66060E2DBF}"/>
              </a:ext>
            </a:extLst>
          </p:cNvPr>
          <p:cNvPicPr>
            <a:picLocks noChangeAspect="1"/>
          </p:cNvPicPr>
          <p:nvPr userDrawn="1"/>
        </p:nvPicPr>
        <p:blipFill>
          <a:blip r:embed="rId22" cstate="print">
            <a:extLst>
              <a:ext uri="{28A0092B-C50C-407E-A947-70E740481C1C}">
                <a14:useLocalDpi xmlns:a14="http://schemas.microsoft.com/office/drawing/2010/main" val="0"/>
              </a:ext>
            </a:extLst>
          </a:blip>
          <a:stretch>
            <a:fillRect/>
          </a:stretch>
        </p:blipFill>
        <p:spPr>
          <a:xfrm>
            <a:off x="169270" y="5364000"/>
            <a:ext cx="288000" cy="288000"/>
          </a:xfrm>
          <a:prstGeom prst="rect">
            <a:avLst/>
          </a:prstGeom>
        </p:spPr>
      </p:pic>
      <p:sp>
        <p:nvSpPr>
          <p:cNvPr id="246" name="Прямоугольник 245">
            <a:extLst>
              <a:ext uri="{FF2B5EF4-FFF2-40B4-BE49-F238E27FC236}">
                <a16:creationId xmlns:a16="http://schemas.microsoft.com/office/drawing/2014/main" id="{9061AAAB-8F17-C04A-B527-E6B7A72A24B2}"/>
              </a:ext>
            </a:extLst>
          </p:cNvPr>
          <p:cNvSpPr/>
          <p:nvPr userDrawn="1"/>
        </p:nvSpPr>
        <p:spPr>
          <a:xfrm>
            <a:off x="0" y="54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47" name="TextBox 246">
            <a:extLst>
              <a:ext uri="{FF2B5EF4-FFF2-40B4-BE49-F238E27FC236}">
                <a16:creationId xmlns:a16="http://schemas.microsoft.com/office/drawing/2014/main" id="{2D15E669-6A8E-1043-9336-D5E60947C37F}"/>
              </a:ext>
            </a:extLst>
          </p:cNvPr>
          <p:cNvSpPr txBox="1"/>
          <p:nvPr userDrawn="1"/>
        </p:nvSpPr>
        <p:spPr>
          <a:xfrm>
            <a:off x="604489" y="6405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248" name="Рисунок 247">
            <a:extLst>
              <a:ext uri="{FF2B5EF4-FFF2-40B4-BE49-F238E27FC236}">
                <a16:creationId xmlns:a16="http://schemas.microsoft.com/office/drawing/2014/main" id="{C8605465-ECE5-2A4D-BBC5-AB91AF8EC813}"/>
              </a:ext>
            </a:extLst>
          </p:cNvPr>
          <p:cNvPicPr>
            <a:picLocks noChangeAspect="1"/>
          </p:cNvPicPr>
          <p:nvPr userDrawn="1"/>
        </p:nvPicPr>
        <p:blipFill>
          <a:blip r:embed="rId24" cstate="hqprint">
            <a:extLst>
              <a:ext uri="{28A0092B-C50C-407E-A947-70E740481C1C}">
                <a14:useLocalDpi xmlns:a14="http://schemas.microsoft.com/office/drawing/2010/main" val="0"/>
              </a:ext>
            </a:extLst>
          </a:blip>
          <a:stretch>
            <a:fillRect/>
          </a:stretch>
        </p:blipFill>
        <p:spPr>
          <a:xfrm>
            <a:off x="169271" y="612000"/>
            <a:ext cx="288000" cy="288000"/>
          </a:xfrm>
          <a:prstGeom prst="rect">
            <a:avLst/>
          </a:prstGeom>
        </p:spPr>
      </p:pic>
      <p:sp>
        <p:nvSpPr>
          <p:cNvPr id="249" name="Прямоугольник 248">
            <a:extLst>
              <a:ext uri="{FF2B5EF4-FFF2-40B4-BE49-F238E27FC236}">
                <a16:creationId xmlns:a16="http://schemas.microsoft.com/office/drawing/2014/main" id="{96EE7546-CDA5-D641-A768-00B23BC7534D}"/>
              </a:ext>
            </a:extLst>
          </p:cNvPr>
          <p:cNvSpPr/>
          <p:nvPr userDrawn="1"/>
        </p:nvSpPr>
        <p:spPr>
          <a:xfrm>
            <a:off x="0" y="572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50" name="TextBox 249">
            <a:extLst>
              <a:ext uri="{FF2B5EF4-FFF2-40B4-BE49-F238E27FC236}">
                <a16:creationId xmlns:a16="http://schemas.microsoft.com/office/drawing/2014/main" id="{044C208F-BB8B-594E-BCF6-081894CBE930}"/>
              </a:ext>
            </a:extLst>
          </p:cNvPr>
          <p:cNvSpPr txBox="1"/>
          <p:nvPr userDrawn="1"/>
        </p:nvSpPr>
        <p:spPr>
          <a:xfrm>
            <a:off x="604489" y="58245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251" name="Рисунок 250">
            <a:extLst>
              <a:ext uri="{FF2B5EF4-FFF2-40B4-BE49-F238E27FC236}">
                <a16:creationId xmlns:a16="http://schemas.microsoft.com/office/drawing/2014/main" id="{1114ADE5-33A7-4E40-BF1A-1343F8391AC1}"/>
              </a:ext>
            </a:extLst>
          </p:cNvPr>
          <p:cNvPicPr>
            <a:picLocks noChangeAspect="1"/>
          </p:cNvPicPr>
          <p:nvPr userDrawn="1"/>
        </p:nvPicPr>
        <p:blipFill>
          <a:blip r:embed="rId26" cstate="print">
            <a:extLst>
              <a:ext uri="{28A0092B-C50C-407E-A947-70E740481C1C}">
                <a14:useLocalDpi xmlns:a14="http://schemas.microsoft.com/office/drawing/2010/main" val="0"/>
              </a:ext>
            </a:extLst>
          </a:blip>
          <a:stretch>
            <a:fillRect/>
          </a:stretch>
        </p:blipFill>
        <p:spPr>
          <a:xfrm>
            <a:off x="169271" y="5796000"/>
            <a:ext cx="288000" cy="288000"/>
          </a:xfrm>
          <a:prstGeom prst="rect">
            <a:avLst/>
          </a:prstGeom>
        </p:spPr>
      </p:pic>
      <p:sp>
        <p:nvSpPr>
          <p:cNvPr id="252" name="Прямоугольник 251">
            <a:extLst>
              <a:ext uri="{FF2B5EF4-FFF2-40B4-BE49-F238E27FC236}">
                <a16:creationId xmlns:a16="http://schemas.microsoft.com/office/drawing/2014/main" id="{7478E0D9-AFC9-4041-9434-AEF3C633E38F}"/>
              </a:ext>
            </a:extLst>
          </p:cNvPr>
          <p:cNvSpPr/>
          <p:nvPr userDrawn="1"/>
        </p:nvSpPr>
        <p:spPr>
          <a:xfrm>
            <a:off x="0" y="615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53" name="TextBox 252">
            <a:extLst>
              <a:ext uri="{FF2B5EF4-FFF2-40B4-BE49-F238E27FC236}">
                <a16:creationId xmlns:a16="http://schemas.microsoft.com/office/drawing/2014/main" id="{4C1DD18C-C511-6B4D-8D3A-84F3B11F9425}"/>
              </a:ext>
            </a:extLst>
          </p:cNvPr>
          <p:cNvSpPr txBox="1"/>
          <p:nvPr userDrawn="1"/>
        </p:nvSpPr>
        <p:spPr>
          <a:xfrm>
            <a:off x="604489" y="62565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254" name="Рисунок 253">
            <a:extLst>
              <a:ext uri="{FF2B5EF4-FFF2-40B4-BE49-F238E27FC236}">
                <a16:creationId xmlns:a16="http://schemas.microsoft.com/office/drawing/2014/main" id="{CD974F71-B1CE-964C-BB01-E956C2C34EB8}"/>
              </a:ext>
            </a:extLst>
          </p:cNvPr>
          <p:cNvPicPr>
            <a:picLocks noChangeAspect="1"/>
          </p:cNvPicPr>
          <p:nvPr userDrawn="1"/>
        </p:nvPicPr>
        <p:blipFill>
          <a:blip r:embed="rId28" cstate="print">
            <a:extLst>
              <a:ext uri="{28A0092B-C50C-407E-A947-70E740481C1C}">
                <a14:useLocalDpi xmlns:a14="http://schemas.microsoft.com/office/drawing/2010/main" val="0"/>
              </a:ext>
            </a:extLst>
          </a:blip>
          <a:stretch>
            <a:fillRect/>
          </a:stretch>
        </p:blipFill>
        <p:spPr>
          <a:xfrm>
            <a:off x="169271" y="6228000"/>
            <a:ext cx="288000" cy="288000"/>
          </a:xfrm>
          <a:prstGeom prst="rect">
            <a:avLst/>
          </a:prstGeom>
        </p:spPr>
      </p:pic>
      <p:sp>
        <p:nvSpPr>
          <p:cNvPr id="139" name="Прямоугольник 138">
            <a:extLst>
              <a:ext uri="{FF2B5EF4-FFF2-40B4-BE49-F238E27FC236}">
                <a16:creationId xmlns:a16="http://schemas.microsoft.com/office/drawing/2014/main" id="{F7A6714F-3C4B-794A-828D-DB2F8A2A9501}"/>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50" name="Рисунок 149">
            <a:extLst>
              <a:ext uri="{FF2B5EF4-FFF2-40B4-BE49-F238E27FC236}">
                <a16:creationId xmlns:a16="http://schemas.microsoft.com/office/drawing/2014/main" id="{63F3A46F-5FB4-0248-8F8A-34F250DB0B02}"/>
              </a:ext>
            </a:extLst>
          </p:cNvPr>
          <p:cNvPicPr>
            <a:picLocks noChangeAspect="1"/>
          </p:cNvPicPr>
          <p:nvPr userDrawn="1"/>
        </p:nvPicPr>
        <p:blipFill rotWithShape="1">
          <a:blip r:embed="rId30"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spTree>
    <p:extLst>
      <p:ext uri="{BB962C8B-B14F-4D97-AF65-F5344CB8AC3E}">
        <p14:creationId xmlns:p14="http://schemas.microsoft.com/office/powerpoint/2010/main" val="179837042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_Мониторинг КПЭ">
    <p:spTree>
      <p:nvGrpSpPr>
        <p:cNvPr id="1" name=""/>
        <p:cNvGrpSpPr/>
        <p:nvPr/>
      </p:nvGrpSpPr>
      <p:grpSpPr>
        <a:xfrm>
          <a:off x="0" y="0"/>
          <a:ext cx="0" cy="0"/>
          <a:chOff x="0" y="0"/>
          <a:chExt cx="0" cy="0"/>
        </a:xfrm>
      </p:grpSpPr>
      <p:sp>
        <p:nvSpPr>
          <p:cNvPr id="37" name="Прямоугольник 36">
            <a:extLst>
              <a:ext uri="{FF2B5EF4-FFF2-40B4-BE49-F238E27FC236}">
                <a16:creationId xmlns:a16="http://schemas.microsoft.com/office/drawing/2014/main" id="{D2911D6F-3963-2549-BAB8-156C2C9A370A}"/>
              </a:ext>
            </a:extLst>
          </p:cNvPr>
          <p:cNvSpPr/>
          <p:nvPr userDrawn="1"/>
        </p:nvSpPr>
        <p:spPr>
          <a:xfrm>
            <a:off x="2135560" y="1"/>
            <a:ext cx="1006719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Title 1">
            <a:extLst>
              <a:ext uri="{FF2B5EF4-FFF2-40B4-BE49-F238E27FC236}">
                <a16:creationId xmlns:a16="http://schemas.microsoft.com/office/drawing/2014/main" id="{F58A97C1-CBDC-F341-AB90-EB0671A1DA02}"/>
              </a:ext>
            </a:extLst>
          </p:cNvPr>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4" name="TextBox 93">
            <a:extLst>
              <a:ext uri="{FF2B5EF4-FFF2-40B4-BE49-F238E27FC236}">
                <a16:creationId xmlns:a16="http://schemas.microsoft.com/office/drawing/2014/main" id="{8ABAD0E0-B078-FF4E-83AF-D94F3678245B}"/>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grpSp>
        <p:nvGrpSpPr>
          <p:cNvPr id="57" name="Группа 56">
            <a:extLst>
              <a:ext uri="{FF2B5EF4-FFF2-40B4-BE49-F238E27FC236}">
                <a16:creationId xmlns:a16="http://schemas.microsoft.com/office/drawing/2014/main" id="{78900C2C-F08F-9440-B651-250A8B029F67}"/>
              </a:ext>
            </a:extLst>
          </p:cNvPr>
          <p:cNvGrpSpPr/>
          <p:nvPr userDrawn="1"/>
        </p:nvGrpSpPr>
        <p:grpSpPr>
          <a:xfrm>
            <a:off x="0" y="-7200"/>
            <a:ext cx="2148770" cy="553998"/>
            <a:chOff x="0" y="11193"/>
            <a:chExt cx="2148770" cy="553998"/>
          </a:xfrm>
        </p:grpSpPr>
        <p:sp>
          <p:nvSpPr>
            <p:cNvPr id="58" name="Прямоугольник 57">
              <a:extLst>
                <a:ext uri="{FF2B5EF4-FFF2-40B4-BE49-F238E27FC236}">
                  <a16:creationId xmlns:a16="http://schemas.microsoft.com/office/drawing/2014/main" id="{A3BD6C48-99AC-894A-AF32-B3CEBA025F95}"/>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 name="TextBox 58">
              <a:extLst>
                <a:ext uri="{FF2B5EF4-FFF2-40B4-BE49-F238E27FC236}">
                  <a16:creationId xmlns:a16="http://schemas.microsoft.com/office/drawing/2014/main" id="{6FEF088B-0C1A-7D41-B42F-465F2D10AFB5}"/>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60" name="TextBox 59">
              <a:extLst>
                <a:ext uri="{FF2B5EF4-FFF2-40B4-BE49-F238E27FC236}">
                  <a16:creationId xmlns:a16="http://schemas.microsoft.com/office/drawing/2014/main" id="{DA80E793-28E0-7B45-BE3D-BB9C5DCF7F93}"/>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62" name="Прямоугольник 61">
            <a:extLst>
              <a:ext uri="{FF2B5EF4-FFF2-40B4-BE49-F238E27FC236}">
                <a16:creationId xmlns:a16="http://schemas.microsoft.com/office/drawing/2014/main" id="{7B529092-BF87-4541-B368-D4F955B45031}"/>
              </a:ext>
            </a:extLst>
          </p:cNvPr>
          <p:cNvSpPr/>
          <p:nvPr userDrawn="1"/>
        </p:nvSpPr>
        <p:spPr>
          <a:xfrm>
            <a:off x="0" y="313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3" name="TextBox 62">
            <a:extLst>
              <a:ext uri="{FF2B5EF4-FFF2-40B4-BE49-F238E27FC236}">
                <a16:creationId xmlns:a16="http://schemas.microsoft.com/office/drawing/2014/main" id="{B144134F-E7F4-4C4B-A2A6-06BE4CCCDA83}"/>
              </a:ext>
            </a:extLst>
          </p:cNvPr>
          <p:cNvSpPr txBox="1"/>
          <p:nvPr userDrawn="1"/>
        </p:nvSpPr>
        <p:spPr>
          <a:xfrm>
            <a:off x="604489" y="32325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64" name="Рисунок 63">
            <a:extLst>
              <a:ext uri="{FF2B5EF4-FFF2-40B4-BE49-F238E27FC236}">
                <a16:creationId xmlns:a16="http://schemas.microsoft.com/office/drawing/2014/main" id="{4D2C5F92-922B-8644-9267-2C4DF305045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3204000"/>
            <a:ext cx="288000" cy="288000"/>
          </a:xfrm>
          <a:prstGeom prst="rect">
            <a:avLst/>
          </a:prstGeom>
        </p:spPr>
      </p:pic>
      <p:sp>
        <p:nvSpPr>
          <p:cNvPr id="65" name="Прямоугольник 64">
            <a:extLst>
              <a:ext uri="{FF2B5EF4-FFF2-40B4-BE49-F238E27FC236}">
                <a16:creationId xmlns:a16="http://schemas.microsoft.com/office/drawing/2014/main" id="{B8B515C9-560A-9E4E-A889-11AA28B2692D}"/>
              </a:ext>
            </a:extLst>
          </p:cNvPr>
          <p:cNvSpPr/>
          <p:nvPr userDrawn="1"/>
        </p:nvSpPr>
        <p:spPr>
          <a:xfrm>
            <a:off x="0" y="270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 name="TextBox 65">
            <a:extLst>
              <a:ext uri="{FF2B5EF4-FFF2-40B4-BE49-F238E27FC236}">
                <a16:creationId xmlns:a16="http://schemas.microsoft.com/office/drawing/2014/main" id="{72B6C16D-E325-0F49-AB28-E7483C3CC610}"/>
              </a:ext>
            </a:extLst>
          </p:cNvPr>
          <p:cNvSpPr txBox="1"/>
          <p:nvPr userDrawn="1"/>
        </p:nvSpPr>
        <p:spPr>
          <a:xfrm>
            <a:off x="604489" y="28005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67" name="Рисунок 66">
            <a:extLst>
              <a:ext uri="{FF2B5EF4-FFF2-40B4-BE49-F238E27FC236}">
                <a16:creationId xmlns:a16="http://schemas.microsoft.com/office/drawing/2014/main" id="{EEFBB6DF-9976-CC49-AAB9-2F5FDDD17D1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9271" y="2772000"/>
            <a:ext cx="288000" cy="288000"/>
          </a:xfrm>
          <a:prstGeom prst="rect">
            <a:avLst/>
          </a:prstGeom>
        </p:spPr>
      </p:pic>
      <p:sp>
        <p:nvSpPr>
          <p:cNvPr id="68" name="Прямоугольник 67">
            <a:extLst>
              <a:ext uri="{FF2B5EF4-FFF2-40B4-BE49-F238E27FC236}">
                <a16:creationId xmlns:a16="http://schemas.microsoft.com/office/drawing/2014/main" id="{A162622E-7B42-4F4D-BC60-9CF0CD50A9B6}"/>
              </a:ext>
            </a:extLst>
          </p:cNvPr>
          <p:cNvSpPr/>
          <p:nvPr userDrawn="1"/>
        </p:nvSpPr>
        <p:spPr>
          <a:xfrm>
            <a:off x="0" y="226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 name="TextBox 68">
            <a:extLst>
              <a:ext uri="{FF2B5EF4-FFF2-40B4-BE49-F238E27FC236}">
                <a16:creationId xmlns:a16="http://schemas.microsoft.com/office/drawing/2014/main" id="{05F87F52-8A16-9940-BF55-7C8122753BDF}"/>
              </a:ext>
            </a:extLst>
          </p:cNvPr>
          <p:cNvSpPr txBox="1"/>
          <p:nvPr userDrawn="1"/>
        </p:nvSpPr>
        <p:spPr>
          <a:xfrm>
            <a:off x="604489" y="22993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70" name="Рисунок 69">
            <a:extLst>
              <a:ext uri="{FF2B5EF4-FFF2-40B4-BE49-F238E27FC236}">
                <a16:creationId xmlns:a16="http://schemas.microsoft.com/office/drawing/2014/main" id="{6184F337-D850-3C43-ACB0-9CA2D5153685}"/>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69271" y="2340000"/>
            <a:ext cx="288000" cy="288000"/>
          </a:xfrm>
          <a:prstGeom prst="rect">
            <a:avLst/>
          </a:prstGeom>
        </p:spPr>
      </p:pic>
      <p:sp>
        <p:nvSpPr>
          <p:cNvPr id="71" name="Прямоугольник 70">
            <a:extLst>
              <a:ext uri="{FF2B5EF4-FFF2-40B4-BE49-F238E27FC236}">
                <a16:creationId xmlns:a16="http://schemas.microsoft.com/office/drawing/2014/main" id="{11282BBF-74E1-364A-AD7B-8EED4E77E62A}"/>
              </a:ext>
            </a:extLst>
          </p:cNvPr>
          <p:cNvSpPr/>
          <p:nvPr userDrawn="1"/>
        </p:nvSpPr>
        <p:spPr>
          <a:xfrm>
            <a:off x="0" y="183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 name="TextBox 71">
            <a:extLst>
              <a:ext uri="{FF2B5EF4-FFF2-40B4-BE49-F238E27FC236}">
                <a16:creationId xmlns:a16="http://schemas.microsoft.com/office/drawing/2014/main" id="{7F5E27E4-4326-704E-9D37-9E217EAB2919}"/>
              </a:ext>
            </a:extLst>
          </p:cNvPr>
          <p:cNvSpPr txBox="1"/>
          <p:nvPr userDrawn="1"/>
        </p:nvSpPr>
        <p:spPr>
          <a:xfrm>
            <a:off x="604489" y="18673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73" name="Рисунок 72">
            <a:extLst>
              <a:ext uri="{FF2B5EF4-FFF2-40B4-BE49-F238E27FC236}">
                <a16:creationId xmlns:a16="http://schemas.microsoft.com/office/drawing/2014/main" id="{DC170A73-B2CF-CE41-AF47-990A7D25EC48}"/>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169271" y="1908000"/>
            <a:ext cx="288000" cy="288000"/>
          </a:xfrm>
          <a:prstGeom prst="rect">
            <a:avLst/>
          </a:prstGeom>
        </p:spPr>
      </p:pic>
      <p:sp>
        <p:nvSpPr>
          <p:cNvPr id="74" name="Прямоугольник 73">
            <a:extLst>
              <a:ext uri="{FF2B5EF4-FFF2-40B4-BE49-F238E27FC236}">
                <a16:creationId xmlns:a16="http://schemas.microsoft.com/office/drawing/2014/main" id="{E7600665-B2A6-0C42-A9B5-6D24D1C43550}"/>
              </a:ext>
            </a:extLst>
          </p:cNvPr>
          <p:cNvSpPr/>
          <p:nvPr userDrawn="1"/>
        </p:nvSpPr>
        <p:spPr>
          <a:xfrm>
            <a:off x="0" y="442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 name="TextBox 74">
            <a:extLst>
              <a:ext uri="{FF2B5EF4-FFF2-40B4-BE49-F238E27FC236}">
                <a16:creationId xmlns:a16="http://schemas.microsoft.com/office/drawing/2014/main" id="{66263EC6-0B06-A84D-9995-C971C4D2311C}"/>
              </a:ext>
            </a:extLst>
          </p:cNvPr>
          <p:cNvSpPr txBox="1"/>
          <p:nvPr userDrawn="1"/>
        </p:nvSpPr>
        <p:spPr>
          <a:xfrm>
            <a:off x="604489" y="45285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76" name="Рисунок 75">
            <a:extLst>
              <a:ext uri="{FF2B5EF4-FFF2-40B4-BE49-F238E27FC236}">
                <a16:creationId xmlns:a16="http://schemas.microsoft.com/office/drawing/2014/main" id="{EF1E9AF0-EC07-AA4A-8901-C6EA51A80E2E}"/>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69271" y="4500000"/>
            <a:ext cx="288000" cy="288000"/>
          </a:xfrm>
          <a:prstGeom prst="rect">
            <a:avLst/>
          </a:prstGeom>
        </p:spPr>
      </p:pic>
      <p:sp>
        <p:nvSpPr>
          <p:cNvPr id="77" name="Прямоугольник 76">
            <a:extLst>
              <a:ext uri="{FF2B5EF4-FFF2-40B4-BE49-F238E27FC236}">
                <a16:creationId xmlns:a16="http://schemas.microsoft.com/office/drawing/2014/main" id="{7A77D292-2F3A-8D44-9C87-0610F32007A5}"/>
              </a:ext>
            </a:extLst>
          </p:cNvPr>
          <p:cNvSpPr/>
          <p:nvPr userDrawn="1"/>
        </p:nvSpPr>
        <p:spPr>
          <a:xfrm>
            <a:off x="0" y="356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 name="TextBox 77">
            <a:extLst>
              <a:ext uri="{FF2B5EF4-FFF2-40B4-BE49-F238E27FC236}">
                <a16:creationId xmlns:a16="http://schemas.microsoft.com/office/drawing/2014/main" id="{277F4D72-D372-3B44-AB36-1F2870FB3B7B}"/>
              </a:ext>
            </a:extLst>
          </p:cNvPr>
          <p:cNvSpPr txBox="1"/>
          <p:nvPr userDrawn="1"/>
        </p:nvSpPr>
        <p:spPr>
          <a:xfrm>
            <a:off x="604489" y="36645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79" name="Рисунок 78">
            <a:extLst>
              <a:ext uri="{FF2B5EF4-FFF2-40B4-BE49-F238E27FC236}">
                <a16:creationId xmlns:a16="http://schemas.microsoft.com/office/drawing/2014/main" id="{5F3434A6-FDE7-1C4B-898D-B90C7EBC06FD}"/>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69271" y="3636000"/>
            <a:ext cx="288000" cy="288000"/>
          </a:xfrm>
          <a:prstGeom prst="rect">
            <a:avLst/>
          </a:prstGeom>
        </p:spPr>
      </p:pic>
      <p:sp>
        <p:nvSpPr>
          <p:cNvPr id="80" name="Прямоугольник 79">
            <a:extLst>
              <a:ext uri="{FF2B5EF4-FFF2-40B4-BE49-F238E27FC236}">
                <a16:creationId xmlns:a16="http://schemas.microsoft.com/office/drawing/2014/main" id="{12A64E19-416F-E146-BE1F-97A8CE8739C2}"/>
              </a:ext>
            </a:extLst>
          </p:cNvPr>
          <p:cNvSpPr/>
          <p:nvPr userDrawn="1"/>
        </p:nvSpPr>
        <p:spPr>
          <a:xfrm>
            <a:off x="0" y="399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 name="TextBox 80">
            <a:extLst>
              <a:ext uri="{FF2B5EF4-FFF2-40B4-BE49-F238E27FC236}">
                <a16:creationId xmlns:a16="http://schemas.microsoft.com/office/drawing/2014/main" id="{004F0EF6-5935-4044-B21A-B735745880CB}"/>
              </a:ext>
            </a:extLst>
          </p:cNvPr>
          <p:cNvSpPr txBox="1"/>
          <p:nvPr userDrawn="1"/>
        </p:nvSpPr>
        <p:spPr>
          <a:xfrm>
            <a:off x="604489" y="40965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82" name="Рисунок 81">
            <a:extLst>
              <a:ext uri="{FF2B5EF4-FFF2-40B4-BE49-F238E27FC236}">
                <a16:creationId xmlns:a16="http://schemas.microsoft.com/office/drawing/2014/main" id="{7CF8E0FE-8BFD-BA44-8309-1927C4C07B57}"/>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69271" y="4068000"/>
            <a:ext cx="288000" cy="288000"/>
          </a:xfrm>
          <a:prstGeom prst="rect">
            <a:avLst/>
          </a:prstGeom>
        </p:spPr>
      </p:pic>
      <p:sp>
        <p:nvSpPr>
          <p:cNvPr id="83" name="Прямоугольник 82">
            <a:extLst>
              <a:ext uri="{FF2B5EF4-FFF2-40B4-BE49-F238E27FC236}">
                <a16:creationId xmlns:a16="http://schemas.microsoft.com/office/drawing/2014/main" id="{3D5BA67D-5BA8-F94A-8D0E-782B8EEEB444}"/>
              </a:ext>
            </a:extLst>
          </p:cNvPr>
          <p:cNvSpPr/>
          <p:nvPr userDrawn="1"/>
        </p:nvSpPr>
        <p:spPr>
          <a:xfrm>
            <a:off x="0" y="97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 name="TextBox 83">
            <a:extLst>
              <a:ext uri="{FF2B5EF4-FFF2-40B4-BE49-F238E27FC236}">
                <a16:creationId xmlns:a16="http://schemas.microsoft.com/office/drawing/2014/main" id="{D00AFB0D-849B-684C-92C3-914C68B8C606}"/>
              </a:ext>
            </a:extLst>
          </p:cNvPr>
          <p:cNvSpPr txBox="1"/>
          <p:nvPr userDrawn="1"/>
        </p:nvSpPr>
        <p:spPr>
          <a:xfrm>
            <a:off x="604489" y="10725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85" name="Рисунок 84">
            <a:extLst>
              <a:ext uri="{FF2B5EF4-FFF2-40B4-BE49-F238E27FC236}">
                <a16:creationId xmlns:a16="http://schemas.microsoft.com/office/drawing/2014/main" id="{5AC32FC8-8DDB-E549-A765-2FB44019845A}"/>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69271" y="1044000"/>
            <a:ext cx="288000" cy="288000"/>
          </a:xfrm>
          <a:prstGeom prst="rect">
            <a:avLst/>
          </a:prstGeom>
        </p:spPr>
      </p:pic>
      <p:sp>
        <p:nvSpPr>
          <p:cNvPr id="86" name="Прямоугольник 85">
            <a:extLst>
              <a:ext uri="{FF2B5EF4-FFF2-40B4-BE49-F238E27FC236}">
                <a16:creationId xmlns:a16="http://schemas.microsoft.com/office/drawing/2014/main" id="{0BAFE81B-9687-4A44-B835-DA6DEAAE46BD}"/>
              </a:ext>
            </a:extLst>
          </p:cNvPr>
          <p:cNvSpPr/>
          <p:nvPr userDrawn="1"/>
        </p:nvSpPr>
        <p:spPr>
          <a:xfrm>
            <a:off x="0" y="486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 name="TextBox 86">
            <a:extLst>
              <a:ext uri="{FF2B5EF4-FFF2-40B4-BE49-F238E27FC236}">
                <a16:creationId xmlns:a16="http://schemas.microsoft.com/office/drawing/2014/main" id="{3672D2D8-0DB0-C34E-ADBC-3E6602C63F32}"/>
              </a:ext>
            </a:extLst>
          </p:cNvPr>
          <p:cNvSpPr txBox="1"/>
          <p:nvPr userDrawn="1"/>
        </p:nvSpPr>
        <p:spPr>
          <a:xfrm>
            <a:off x="604489" y="49605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88" name="Рисунок 87">
            <a:extLst>
              <a:ext uri="{FF2B5EF4-FFF2-40B4-BE49-F238E27FC236}">
                <a16:creationId xmlns:a16="http://schemas.microsoft.com/office/drawing/2014/main" id="{7C5A18B2-905E-F641-A171-F5CEEFA9D98C}"/>
              </a:ext>
            </a:extLst>
          </p:cNvPr>
          <p:cNvPicPr>
            <a:picLocks noChangeAspect="1"/>
          </p:cNvPicPr>
          <p:nvPr userDrawn="1"/>
        </p:nvPicPr>
        <p:blipFill>
          <a:blip r:embed="rId10" cstate="hqprint">
            <a:extLst>
              <a:ext uri="{28A0092B-C50C-407E-A947-70E740481C1C}">
                <a14:useLocalDpi xmlns:a14="http://schemas.microsoft.com/office/drawing/2010/main" val="0"/>
              </a:ext>
            </a:extLst>
          </a:blip>
          <a:stretch>
            <a:fillRect/>
          </a:stretch>
        </p:blipFill>
        <p:spPr>
          <a:xfrm>
            <a:off x="169271" y="4932000"/>
            <a:ext cx="288000" cy="288000"/>
          </a:xfrm>
          <a:prstGeom prst="rect">
            <a:avLst/>
          </a:prstGeom>
        </p:spPr>
      </p:pic>
      <p:sp>
        <p:nvSpPr>
          <p:cNvPr id="89" name="Прямоугольник 88">
            <a:extLst>
              <a:ext uri="{FF2B5EF4-FFF2-40B4-BE49-F238E27FC236}">
                <a16:creationId xmlns:a16="http://schemas.microsoft.com/office/drawing/2014/main" id="{FB17682F-79D6-3442-9587-4018B4E2135A}"/>
              </a:ext>
            </a:extLst>
          </p:cNvPr>
          <p:cNvSpPr/>
          <p:nvPr userDrawn="1"/>
        </p:nvSpPr>
        <p:spPr>
          <a:xfrm>
            <a:off x="0" y="140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0" name="TextBox 89">
            <a:extLst>
              <a:ext uri="{FF2B5EF4-FFF2-40B4-BE49-F238E27FC236}">
                <a16:creationId xmlns:a16="http://schemas.microsoft.com/office/drawing/2014/main" id="{77102DF2-3E64-CA48-A02F-770198EA1A83}"/>
              </a:ext>
            </a:extLst>
          </p:cNvPr>
          <p:cNvSpPr txBox="1"/>
          <p:nvPr userDrawn="1"/>
        </p:nvSpPr>
        <p:spPr>
          <a:xfrm>
            <a:off x="604489" y="15045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91" name="Рисунок 90">
            <a:extLst>
              <a:ext uri="{FF2B5EF4-FFF2-40B4-BE49-F238E27FC236}">
                <a16:creationId xmlns:a16="http://schemas.microsoft.com/office/drawing/2014/main" id="{28CDA5E5-FFFF-DF4D-9248-AB3308DC9DDD}"/>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69270" y="1476000"/>
            <a:ext cx="288000" cy="288000"/>
          </a:xfrm>
          <a:prstGeom prst="rect">
            <a:avLst/>
          </a:prstGeom>
        </p:spPr>
      </p:pic>
      <p:sp>
        <p:nvSpPr>
          <p:cNvPr id="92" name="Прямоугольник 91">
            <a:extLst>
              <a:ext uri="{FF2B5EF4-FFF2-40B4-BE49-F238E27FC236}">
                <a16:creationId xmlns:a16="http://schemas.microsoft.com/office/drawing/2014/main" id="{5B9C4F70-5EAB-F940-951E-41402FA17D14}"/>
              </a:ext>
            </a:extLst>
          </p:cNvPr>
          <p:cNvSpPr/>
          <p:nvPr userDrawn="1"/>
        </p:nvSpPr>
        <p:spPr>
          <a:xfrm>
            <a:off x="0" y="529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3" name="TextBox 92">
            <a:extLst>
              <a:ext uri="{FF2B5EF4-FFF2-40B4-BE49-F238E27FC236}">
                <a16:creationId xmlns:a16="http://schemas.microsoft.com/office/drawing/2014/main" id="{9C17B975-6313-B547-A4D5-7F4D89686AA8}"/>
              </a:ext>
            </a:extLst>
          </p:cNvPr>
          <p:cNvSpPr txBox="1"/>
          <p:nvPr userDrawn="1"/>
        </p:nvSpPr>
        <p:spPr>
          <a:xfrm>
            <a:off x="604489" y="53925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95" name="Рисунок 94">
            <a:extLst>
              <a:ext uri="{FF2B5EF4-FFF2-40B4-BE49-F238E27FC236}">
                <a16:creationId xmlns:a16="http://schemas.microsoft.com/office/drawing/2014/main" id="{9D065C59-C937-E743-8584-757F7F538FA1}"/>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69270" y="5364000"/>
            <a:ext cx="288000" cy="288000"/>
          </a:xfrm>
          <a:prstGeom prst="rect">
            <a:avLst/>
          </a:prstGeom>
        </p:spPr>
      </p:pic>
      <p:sp>
        <p:nvSpPr>
          <p:cNvPr id="99" name="Прямоугольник 98">
            <a:extLst>
              <a:ext uri="{FF2B5EF4-FFF2-40B4-BE49-F238E27FC236}">
                <a16:creationId xmlns:a16="http://schemas.microsoft.com/office/drawing/2014/main" id="{8DC1477B-F7CB-474C-8BC6-362B252DB823}"/>
              </a:ext>
            </a:extLst>
          </p:cNvPr>
          <p:cNvSpPr/>
          <p:nvPr userDrawn="1"/>
        </p:nvSpPr>
        <p:spPr>
          <a:xfrm>
            <a:off x="0" y="572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0" name="TextBox 99">
            <a:extLst>
              <a:ext uri="{FF2B5EF4-FFF2-40B4-BE49-F238E27FC236}">
                <a16:creationId xmlns:a16="http://schemas.microsoft.com/office/drawing/2014/main" id="{69C38114-DC3E-0947-921E-9EE99E080FB0}"/>
              </a:ext>
            </a:extLst>
          </p:cNvPr>
          <p:cNvSpPr txBox="1"/>
          <p:nvPr userDrawn="1"/>
        </p:nvSpPr>
        <p:spPr>
          <a:xfrm>
            <a:off x="604489" y="58245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101" name="Рисунок 100">
            <a:extLst>
              <a:ext uri="{FF2B5EF4-FFF2-40B4-BE49-F238E27FC236}">
                <a16:creationId xmlns:a16="http://schemas.microsoft.com/office/drawing/2014/main" id="{5FC149C7-097E-134B-BA79-FE7F5A785FB7}"/>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69271" y="5796000"/>
            <a:ext cx="288000" cy="288000"/>
          </a:xfrm>
          <a:prstGeom prst="rect">
            <a:avLst/>
          </a:prstGeom>
        </p:spPr>
      </p:pic>
      <p:sp>
        <p:nvSpPr>
          <p:cNvPr id="102" name="Прямоугольник 101">
            <a:extLst>
              <a:ext uri="{FF2B5EF4-FFF2-40B4-BE49-F238E27FC236}">
                <a16:creationId xmlns:a16="http://schemas.microsoft.com/office/drawing/2014/main" id="{103C7277-784E-8540-B91F-A778287DD6B3}"/>
              </a:ext>
            </a:extLst>
          </p:cNvPr>
          <p:cNvSpPr/>
          <p:nvPr userDrawn="1"/>
        </p:nvSpPr>
        <p:spPr>
          <a:xfrm>
            <a:off x="0" y="615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3" name="TextBox 102">
            <a:extLst>
              <a:ext uri="{FF2B5EF4-FFF2-40B4-BE49-F238E27FC236}">
                <a16:creationId xmlns:a16="http://schemas.microsoft.com/office/drawing/2014/main" id="{BEEB009F-7CDB-E242-9E6A-BBE0B3879C36}"/>
              </a:ext>
            </a:extLst>
          </p:cNvPr>
          <p:cNvSpPr txBox="1"/>
          <p:nvPr userDrawn="1"/>
        </p:nvSpPr>
        <p:spPr>
          <a:xfrm>
            <a:off x="604489" y="62565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104" name="Рисунок 103">
            <a:extLst>
              <a:ext uri="{FF2B5EF4-FFF2-40B4-BE49-F238E27FC236}">
                <a16:creationId xmlns:a16="http://schemas.microsoft.com/office/drawing/2014/main" id="{2BFE543A-F061-5645-911D-194E0734B8B7}"/>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6228000"/>
            <a:ext cx="288000" cy="288000"/>
          </a:xfrm>
          <a:prstGeom prst="rect">
            <a:avLst/>
          </a:prstGeom>
        </p:spPr>
      </p:pic>
      <p:sp>
        <p:nvSpPr>
          <p:cNvPr id="138" name="Прямоугольник 137">
            <a:extLst>
              <a:ext uri="{FF2B5EF4-FFF2-40B4-BE49-F238E27FC236}">
                <a16:creationId xmlns:a16="http://schemas.microsoft.com/office/drawing/2014/main" id="{4CC2323C-6A9E-4240-BA4D-40C1CEBA5495}"/>
              </a:ext>
            </a:extLst>
          </p:cNvPr>
          <p:cNvSpPr/>
          <p:nvPr userDrawn="1"/>
        </p:nvSpPr>
        <p:spPr>
          <a:xfrm>
            <a:off x="0" y="5400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9" name="TextBox 138">
            <a:extLst>
              <a:ext uri="{FF2B5EF4-FFF2-40B4-BE49-F238E27FC236}">
                <a16:creationId xmlns:a16="http://schemas.microsoft.com/office/drawing/2014/main" id="{36064FD3-4795-9E4B-A0A0-C4E2F733B33B}"/>
              </a:ext>
            </a:extLst>
          </p:cNvPr>
          <p:cNvSpPr txBox="1"/>
          <p:nvPr userDrawn="1"/>
        </p:nvSpPr>
        <p:spPr>
          <a:xfrm>
            <a:off x="604489" y="640584"/>
            <a:ext cx="1439290" cy="230832"/>
          </a:xfrm>
          <a:prstGeom prst="rect">
            <a:avLst/>
          </a:prstGeom>
          <a:noFill/>
        </p:spPr>
        <p:txBody>
          <a:bodyPr wrap="square" rtlCol="0" anchor="ctr">
            <a:spAutoFit/>
          </a:bodyPr>
          <a:lstStyle/>
          <a:p>
            <a:r>
              <a:rPr lang="ru-RU" sz="900" b="1" dirty="0">
                <a:solidFill>
                  <a:schemeClr val="bg1"/>
                </a:solidFill>
              </a:rPr>
              <a:t>Мониторинг КПЭ</a:t>
            </a:r>
          </a:p>
        </p:txBody>
      </p:sp>
      <p:pic>
        <p:nvPicPr>
          <p:cNvPr id="140" name="Рисунок 139">
            <a:extLst>
              <a:ext uri="{FF2B5EF4-FFF2-40B4-BE49-F238E27FC236}">
                <a16:creationId xmlns:a16="http://schemas.microsoft.com/office/drawing/2014/main" id="{E0C967F9-2C44-3C48-BA7D-10F706D9C1A5}"/>
              </a:ext>
            </a:extLst>
          </p:cNvPr>
          <p:cNvPicPr>
            <a:picLocks noChangeAspect="1"/>
          </p:cNvPicPr>
          <p:nvPr userDrawn="1"/>
        </p:nvPicPr>
        <p:blipFill>
          <a:blip r:embed="rId15" cstate="hqprint">
            <a:extLst>
              <a:ext uri="{28A0092B-C50C-407E-A947-70E740481C1C}">
                <a14:useLocalDpi xmlns:a14="http://schemas.microsoft.com/office/drawing/2010/main" val="0"/>
              </a:ext>
            </a:extLst>
          </a:blip>
          <a:stretch>
            <a:fillRect/>
          </a:stretch>
        </p:blipFill>
        <p:spPr>
          <a:xfrm>
            <a:off x="171523" y="612000"/>
            <a:ext cx="288000" cy="288000"/>
          </a:xfrm>
          <a:prstGeom prst="rect">
            <a:avLst/>
          </a:prstGeom>
        </p:spPr>
      </p:pic>
      <p:sp>
        <p:nvSpPr>
          <p:cNvPr id="53" name="Прямоугольник 52">
            <a:extLst>
              <a:ext uri="{FF2B5EF4-FFF2-40B4-BE49-F238E27FC236}">
                <a16:creationId xmlns:a16="http://schemas.microsoft.com/office/drawing/2014/main" id="{646ECFDF-F0B2-4043-BE56-E3A909CF6811}"/>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4" name="Рисунок 53">
            <a:extLst>
              <a:ext uri="{FF2B5EF4-FFF2-40B4-BE49-F238E27FC236}">
                <a16:creationId xmlns:a16="http://schemas.microsoft.com/office/drawing/2014/main" id="{4D172D85-9CC8-A345-945D-3FC86717EB04}"/>
              </a:ext>
            </a:extLst>
          </p:cNvPr>
          <p:cNvPicPr>
            <a:picLocks noChangeAspect="1"/>
          </p:cNvPicPr>
          <p:nvPr userDrawn="1"/>
        </p:nvPicPr>
        <p:blipFill rotWithShape="1">
          <a:blip r:embed="rId16"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pic>
        <p:nvPicPr>
          <p:cNvPr id="4" name="Рисунок 3"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2" name="Рисунок 1"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spTree>
    <p:extLst>
      <p:ext uri="{BB962C8B-B14F-4D97-AF65-F5344CB8AC3E}">
        <p14:creationId xmlns:p14="http://schemas.microsoft.com/office/powerpoint/2010/main" val="171387609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Титульный слайд">
    <p:spTree>
      <p:nvGrpSpPr>
        <p:cNvPr id="1" name=""/>
        <p:cNvGrpSpPr/>
        <p:nvPr/>
      </p:nvGrpSpPr>
      <p:grpSpPr>
        <a:xfrm>
          <a:off x="0" y="0"/>
          <a:ext cx="0" cy="0"/>
          <a:chOff x="0" y="0"/>
          <a:chExt cx="0" cy="0"/>
        </a:xfrm>
      </p:grpSpPr>
      <p:sp>
        <p:nvSpPr>
          <p:cNvPr id="6" name="Номер слайда 5">
            <a:extLst>
              <a:ext uri="{FF2B5EF4-FFF2-40B4-BE49-F238E27FC236}">
                <a16:creationId xmlns:a16="http://schemas.microsoft.com/office/drawing/2014/main" id="{7A1B117A-CE21-4836-AB2E-8DAF1E6D3D17}"/>
              </a:ext>
            </a:extLst>
          </p:cNvPr>
          <p:cNvSpPr>
            <a:spLocks noGrp="1"/>
          </p:cNvSpPr>
          <p:nvPr>
            <p:ph type="sldNum" sz="quarter" idx="12"/>
          </p:nvPr>
        </p:nvSpPr>
        <p:spPr>
          <a:xfrm>
            <a:off x="3727696" y="6126266"/>
            <a:ext cx="521496" cy="365125"/>
          </a:xfrm>
          <a:prstGeom prst="rect">
            <a:avLst/>
          </a:prstGeom>
        </p:spPr>
        <p:txBody>
          <a:bodyPr/>
          <a:lstStyle/>
          <a:p>
            <a:fld id="{054C8753-49EE-4AA4-B7F7-004F2534EA1E}" type="slidenum">
              <a:rPr lang="ru-RU" smtClean="0"/>
              <a:t>‹#›</a:t>
            </a:fld>
            <a:endParaRPr lang="ru-RU" dirty="0"/>
          </a:p>
        </p:txBody>
      </p:sp>
    </p:spTree>
    <p:extLst>
      <p:ext uri="{BB962C8B-B14F-4D97-AF65-F5344CB8AC3E}">
        <p14:creationId xmlns:p14="http://schemas.microsoft.com/office/powerpoint/2010/main" val="414995527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2_Календарь событий">
    <p:spTree>
      <p:nvGrpSpPr>
        <p:cNvPr id="1" name=""/>
        <p:cNvGrpSpPr/>
        <p:nvPr/>
      </p:nvGrpSpPr>
      <p:grpSpPr>
        <a:xfrm>
          <a:off x="0" y="0"/>
          <a:ext cx="0" cy="0"/>
          <a:chOff x="0" y="0"/>
          <a:chExt cx="0" cy="0"/>
        </a:xfrm>
      </p:grpSpPr>
      <p:sp>
        <p:nvSpPr>
          <p:cNvPr id="37" name="Прямоугольник 36">
            <a:extLst>
              <a:ext uri="{FF2B5EF4-FFF2-40B4-BE49-F238E27FC236}">
                <a16:creationId xmlns:a16="http://schemas.microsoft.com/office/drawing/2014/main" id="{9AC7A6EF-2731-F046-9340-D8335C227DB3}"/>
              </a:ext>
            </a:extLst>
          </p:cNvPr>
          <p:cNvSpPr/>
          <p:nvPr userDrawn="1"/>
        </p:nvSpPr>
        <p:spPr>
          <a:xfrm>
            <a:off x="2135560" y="1"/>
            <a:ext cx="1006719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Title 1">
            <a:extLst>
              <a:ext uri="{FF2B5EF4-FFF2-40B4-BE49-F238E27FC236}">
                <a16:creationId xmlns:a16="http://schemas.microsoft.com/office/drawing/2014/main" id="{BE371AA9-EFBB-9A4A-B006-D9977C8192DE}"/>
              </a:ext>
            </a:extLst>
          </p:cNvPr>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0" name="TextBox 89">
            <a:extLst>
              <a:ext uri="{FF2B5EF4-FFF2-40B4-BE49-F238E27FC236}">
                <a16:creationId xmlns:a16="http://schemas.microsoft.com/office/drawing/2014/main" id="{6F21F700-E318-0C4C-80E2-474F50DE3366}"/>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grpSp>
        <p:nvGrpSpPr>
          <p:cNvPr id="57" name="Группа 56">
            <a:extLst>
              <a:ext uri="{FF2B5EF4-FFF2-40B4-BE49-F238E27FC236}">
                <a16:creationId xmlns:a16="http://schemas.microsoft.com/office/drawing/2014/main" id="{0CBEBAB2-0138-3545-94E3-F318AFF46406}"/>
              </a:ext>
            </a:extLst>
          </p:cNvPr>
          <p:cNvGrpSpPr/>
          <p:nvPr userDrawn="1"/>
        </p:nvGrpSpPr>
        <p:grpSpPr>
          <a:xfrm>
            <a:off x="0" y="-7200"/>
            <a:ext cx="2148770" cy="553998"/>
            <a:chOff x="0" y="11193"/>
            <a:chExt cx="2148770" cy="553998"/>
          </a:xfrm>
        </p:grpSpPr>
        <p:sp>
          <p:nvSpPr>
            <p:cNvPr id="58" name="Прямоугольник 57">
              <a:extLst>
                <a:ext uri="{FF2B5EF4-FFF2-40B4-BE49-F238E27FC236}">
                  <a16:creationId xmlns:a16="http://schemas.microsoft.com/office/drawing/2014/main" id="{A0BF67A6-BE76-FB48-B823-EAF335E0C2AF}"/>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 name="TextBox 58">
              <a:extLst>
                <a:ext uri="{FF2B5EF4-FFF2-40B4-BE49-F238E27FC236}">
                  <a16:creationId xmlns:a16="http://schemas.microsoft.com/office/drawing/2014/main" id="{8200AA02-9FB0-684B-9A73-A35A4AE123C5}"/>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60" name="TextBox 59">
              <a:extLst>
                <a:ext uri="{FF2B5EF4-FFF2-40B4-BE49-F238E27FC236}">
                  <a16:creationId xmlns:a16="http://schemas.microsoft.com/office/drawing/2014/main" id="{88BE1DA0-5352-1142-82F6-110C2AD79A3A}"/>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62" name="Прямоугольник 61">
            <a:extLst>
              <a:ext uri="{FF2B5EF4-FFF2-40B4-BE49-F238E27FC236}">
                <a16:creationId xmlns:a16="http://schemas.microsoft.com/office/drawing/2014/main" id="{DAFD95B1-1D63-C849-9294-0E250A160415}"/>
              </a:ext>
            </a:extLst>
          </p:cNvPr>
          <p:cNvSpPr/>
          <p:nvPr userDrawn="1"/>
        </p:nvSpPr>
        <p:spPr>
          <a:xfrm>
            <a:off x="0" y="313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3" name="TextBox 62">
            <a:extLst>
              <a:ext uri="{FF2B5EF4-FFF2-40B4-BE49-F238E27FC236}">
                <a16:creationId xmlns:a16="http://schemas.microsoft.com/office/drawing/2014/main" id="{181926F7-A984-2A41-A3B2-2BBF79A55CFA}"/>
              </a:ext>
            </a:extLst>
          </p:cNvPr>
          <p:cNvSpPr txBox="1"/>
          <p:nvPr userDrawn="1"/>
        </p:nvSpPr>
        <p:spPr>
          <a:xfrm>
            <a:off x="604489" y="32325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64" name="Рисунок 63">
            <a:extLst>
              <a:ext uri="{FF2B5EF4-FFF2-40B4-BE49-F238E27FC236}">
                <a16:creationId xmlns:a16="http://schemas.microsoft.com/office/drawing/2014/main" id="{4A7D4B31-059D-4842-8F61-1E6B21F42B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3204000"/>
            <a:ext cx="288000" cy="288000"/>
          </a:xfrm>
          <a:prstGeom prst="rect">
            <a:avLst/>
          </a:prstGeom>
        </p:spPr>
      </p:pic>
      <p:sp>
        <p:nvSpPr>
          <p:cNvPr id="65" name="Прямоугольник 64">
            <a:extLst>
              <a:ext uri="{FF2B5EF4-FFF2-40B4-BE49-F238E27FC236}">
                <a16:creationId xmlns:a16="http://schemas.microsoft.com/office/drawing/2014/main" id="{182F7E04-5079-D14B-B22F-E55C13F9F46B}"/>
              </a:ext>
            </a:extLst>
          </p:cNvPr>
          <p:cNvSpPr/>
          <p:nvPr userDrawn="1"/>
        </p:nvSpPr>
        <p:spPr>
          <a:xfrm>
            <a:off x="0" y="270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 name="TextBox 65">
            <a:extLst>
              <a:ext uri="{FF2B5EF4-FFF2-40B4-BE49-F238E27FC236}">
                <a16:creationId xmlns:a16="http://schemas.microsoft.com/office/drawing/2014/main" id="{99F63D9E-6D8B-3944-9EB0-80F5CAD5642C}"/>
              </a:ext>
            </a:extLst>
          </p:cNvPr>
          <p:cNvSpPr txBox="1"/>
          <p:nvPr userDrawn="1"/>
        </p:nvSpPr>
        <p:spPr>
          <a:xfrm>
            <a:off x="604489" y="28005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67" name="Рисунок 66">
            <a:extLst>
              <a:ext uri="{FF2B5EF4-FFF2-40B4-BE49-F238E27FC236}">
                <a16:creationId xmlns:a16="http://schemas.microsoft.com/office/drawing/2014/main" id="{F1757DEE-9547-1145-B0E5-1250AE1BE01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9271" y="2772000"/>
            <a:ext cx="288000" cy="288000"/>
          </a:xfrm>
          <a:prstGeom prst="rect">
            <a:avLst/>
          </a:prstGeom>
        </p:spPr>
      </p:pic>
      <p:sp>
        <p:nvSpPr>
          <p:cNvPr id="68" name="Прямоугольник 67">
            <a:extLst>
              <a:ext uri="{FF2B5EF4-FFF2-40B4-BE49-F238E27FC236}">
                <a16:creationId xmlns:a16="http://schemas.microsoft.com/office/drawing/2014/main" id="{08247C9C-9324-D043-9F5F-94BB6C1E8D2A}"/>
              </a:ext>
            </a:extLst>
          </p:cNvPr>
          <p:cNvSpPr/>
          <p:nvPr userDrawn="1"/>
        </p:nvSpPr>
        <p:spPr>
          <a:xfrm>
            <a:off x="0" y="226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 name="TextBox 68">
            <a:extLst>
              <a:ext uri="{FF2B5EF4-FFF2-40B4-BE49-F238E27FC236}">
                <a16:creationId xmlns:a16="http://schemas.microsoft.com/office/drawing/2014/main" id="{E7CFB55A-9149-0542-8D1E-98195292148F}"/>
              </a:ext>
            </a:extLst>
          </p:cNvPr>
          <p:cNvSpPr txBox="1"/>
          <p:nvPr userDrawn="1"/>
        </p:nvSpPr>
        <p:spPr>
          <a:xfrm>
            <a:off x="604489" y="22993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70" name="Рисунок 69">
            <a:extLst>
              <a:ext uri="{FF2B5EF4-FFF2-40B4-BE49-F238E27FC236}">
                <a16:creationId xmlns:a16="http://schemas.microsoft.com/office/drawing/2014/main" id="{C87CBAA0-785A-A94D-882D-CBF1CB1AA28C}"/>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69271" y="2340000"/>
            <a:ext cx="288000" cy="288000"/>
          </a:xfrm>
          <a:prstGeom prst="rect">
            <a:avLst/>
          </a:prstGeom>
        </p:spPr>
      </p:pic>
      <p:sp>
        <p:nvSpPr>
          <p:cNvPr id="71" name="Прямоугольник 70">
            <a:extLst>
              <a:ext uri="{FF2B5EF4-FFF2-40B4-BE49-F238E27FC236}">
                <a16:creationId xmlns:a16="http://schemas.microsoft.com/office/drawing/2014/main" id="{0D7251ED-27D2-0044-B602-59739F3C3296}"/>
              </a:ext>
            </a:extLst>
          </p:cNvPr>
          <p:cNvSpPr/>
          <p:nvPr userDrawn="1"/>
        </p:nvSpPr>
        <p:spPr>
          <a:xfrm>
            <a:off x="0" y="183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 name="TextBox 71">
            <a:extLst>
              <a:ext uri="{FF2B5EF4-FFF2-40B4-BE49-F238E27FC236}">
                <a16:creationId xmlns:a16="http://schemas.microsoft.com/office/drawing/2014/main" id="{A32AD8FB-CC58-2848-A460-BCCD853CC468}"/>
              </a:ext>
            </a:extLst>
          </p:cNvPr>
          <p:cNvSpPr txBox="1"/>
          <p:nvPr userDrawn="1"/>
        </p:nvSpPr>
        <p:spPr>
          <a:xfrm>
            <a:off x="604489" y="18673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73" name="Рисунок 72">
            <a:extLst>
              <a:ext uri="{FF2B5EF4-FFF2-40B4-BE49-F238E27FC236}">
                <a16:creationId xmlns:a16="http://schemas.microsoft.com/office/drawing/2014/main" id="{72444AC0-D840-CA41-B669-0A4F16FEFC77}"/>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169271" y="1908000"/>
            <a:ext cx="288000" cy="288000"/>
          </a:xfrm>
          <a:prstGeom prst="rect">
            <a:avLst/>
          </a:prstGeom>
        </p:spPr>
      </p:pic>
      <p:sp>
        <p:nvSpPr>
          <p:cNvPr id="74" name="Прямоугольник 73">
            <a:extLst>
              <a:ext uri="{FF2B5EF4-FFF2-40B4-BE49-F238E27FC236}">
                <a16:creationId xmlns:a16="http://schemas.microsoft.com/office/drawing/2014/main" id="{A13EE542-E774-9246-BE7A-FDCF37EEC4DE}"/>
              </a:ext>
            </a:extLst>
          </p:cNvPr>
          <p:cNvSpPr/>
          <p:nvPr userDrawn="1"/>
        </p:nvSpPr>
        <p:spPr>
          <a:xfrm>
            <a:off x="0" y="442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 name="TextBox 74">
            <a:extLst>
              <a:ext uri="{FF2B5EF4-FFF2-40B4-BE49-F238E27FC236}">
                <a16:creationId xmlns:a16="http://schemas.microsoft.com/office/drawing/2014/main" id="{60397C1A-3DEA-4446-B270-AC540AC8150E}"/>
              </a:ext>
            </a:extLst>
          </p:cNvPr>
          <p:cNvSpPr txBox="1"/>
          <p:nvPr userDrawn="1"/>
        </p:nvSpPr>
        <p:spPr>
          <a:xfrm>
            <a:off x="604489" y="45285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76" name="Рисунок 75">
            <a:extLst>
              <a:ext uri="{FF2B5EF4-FFF2-40B4-BE49-F238E27FC236}">
                <a16:creationId xmlns:a16="http://schemas.microsoft.com/office/drawing/2014/main" id="{E45AD05D-F4BD-7244-B219-409C4429FC31}"/>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69271" y="4500000"/>
            <a:ext cx="288000" cy="288000"/>
          </a:xfrm>
          <a:prstGeom prst="rect">
            <a:avLst/>
          </a:prstGeom>
        </p:spPr>
      </p:pic>
      <p:sp>
        <p:nvSpPr>
          <p:cNvPr id="77" name="Прямоугольник 76">
            <a:extLst>
              <a:ext uri="{FF2B5EF4-FFF2-40B4-BE49-F238E27FC236}">
                <a16:creationId xmlns:a16="http://schemas.microsoft.com/office/drawing/2014/main" id="{7AB27106-DCE4-E24C-A707-B03E74E18239}"/>
              </a:ext>
            </a:extLst>
          </p:cNvPr>
          <p:cNvSpPr/>
          <p:nvPr userDrawn="1"/>
        </p:nvSpPr>
        <p:spPr>
          <a:xfrm>
            <a:off x="0" y="356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 name="TextBox 77">
            <a:extLst>
              <a:ext uri="{FF2B5EF4-FFF2-40B4-BE49-F238E27FC236}">
                <a16:creationId xmlns:a16="http://schemas.microsoft.com/office/drawing/2014/main" id="{DFD80163-178B-2D41-AC43-23AAA1598A41}"/>
              </a:ext>
            </a:extLst>
          </p:cNvPr>
          <p:cNvSpPr txBox="1"/>
          <p:nvPr userDrawn="1"/>
        </p:nvSpPr>
        <p:spPr>
          <a:xfrm>
            <a:off x="604489" y="36645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79" name="Рисунок 78">
            <a:extLst>
              <a:ext uri="{FF2B5EF4-FFF2-40B4-BE49-F238E27FC236}">
                <a16:creationId xmlns:a16="http://schemas.microsoft.com/office/drawing/2014/main" id="{423DDE2E-4AD5-F24A-AF06-B1A86986F496}"/>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69271" y="3636000"/>
            <a:ext cx="288000" cy="288000"/>
          </a:xfrm>
          <a:prstGeom prst="rect">
            <a:avLst/>
          </a:prstGeom>
        </p:spPr>
      </p:pic>
      <p:sp>
        <p:nvSpPr>
          <p:cNvPr id="80" name="Прямоугольник 79">
            <a:extLst>
              <a:ext uri="{FF2B5EF4-FFF2-40B4-BE49-F238E27FC236}">
                <a16:creationId xmlns:a16="http://schemas.microsoft.com/office/drawing/2014/main" id="{CC6B15D4-147A-5649-8CEF-147DF6E2D3F9}"/>
              </a:ext>
            </a:extLst>
          </p:cNvPr>
          <p:cNvSpPr/>
          <p:nvPr userDrawn="1"/>
        </p:nvSpPr>
        <p:spPr>
          <a:xfrm>
            <a:off x="0" y="399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 name="TextBox 80">
            <a:extLst>
              <a:ext uri="{FF2B5EF4-FFF2-40B4-BE49-F238E27FC236}">
                <a16:creationId xmlns:a16="http://schemas.microsoft.com/office/drawing/2014/main" id="{9B07AA80-4EA0-2C40-8A70-1C532093464F}"/>
              </a:ext>
            </a:extLst>
          </p:cNvPr>
          <p:cNvSpPr txBox="1"/>
          <p:nvPr userDrawn="1"/>
        </p:nvSpPr>
        <p:spPr>
          <a:xfrm>
            <a:off x="604489" y="40965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82" name="Рисунок 81">
            <a:extLst>
              <a:ext uri="{FF2B5EF4-FFF2-40B4-BE49-F238E27FC236}">
                <a16:creationId xmlns:a16="http://schemas.microsoft.com/office/drawing/2014/main" id="{77E0E205-27A6-7641-9673-944997353D53}"/>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69271" y="4068000"/>
            <a:ext cx="288000" cy="288000"/>
          </a:xfrm>
          <a:prstGeom prst="rect">
            <a:avLst/>
          </a:prstGeom>
        </p:spPr>
      </p:pic>
      <p:sp>
        <p:nvSpPr>
          <p:cNvPr id="86" name="Прямоугольник 85">
            <a:extLst>
              <a:ext uri="{FF2B5EF4-FFF2-40B4-BE49-F238E27FC236}">
                <a16:creationId xmlns:a16="http://schemas.microsoft.com/office/drawing/2014/main" id="{664E5CCC-FA5C-DE46-8C49-6B8F75CAB68E}"/>
              </a:ext>
            </a:extLst>
          </p:cNvPr>
          <p:cNvSpPr/>
          <p:nvPr userDrawn="1"/>
        </p:nvSpPr>
        <p:spPr>
          <a:xfrm>
            <a:off x="0" y="486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 name="TextBox 86">
            <a:extLst>
              <a:ext uri="{FF2B5EF4-FFF2-40B4-BE49-F238E27FC236}">
                <a16:creationId xmlns:a16="http://schemas.microsoft.com/office/drawing/2014/main" id="{EDD7AB78-01B4-DB44-B678-EBF8D7E2EBF2}"/>
              </a:ext>
            </a:extLst>
          </p:cNvPr>
          <p:cNvSpPr txBox="1"/>
          <p:nvPr userDrawn="1"/>
        </p:nvSpPr>
        <p:spPr>
          <a:xfrm>
            <a:off x="604489" y="49605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88" name="Рисунок 87">
            <a:extLst>
              <a:ext uri="{FF2B5EF4-FFF2-40B4-BE49-F238E27FC236}">
                <a16:creationId xmlns:a16="http://schemas.microsoft.com/office/drawing/2014/main" id="{B20FBA94-3750-BC41-A29E-A2ADD3C55BE2}"/>
              </a:ext>
            </a:extLst>
          </p:cNvPr>
          <p:cNvPicPr>
            <a:picLocks noChangeAspect="1"/>
          </p:cNvPicPr>
          <p:nvPr userDrawn="1"/>
        </p:nvPicPr>
        <p:blipFill>
          <a:blip r:embed="rId9" cstate="hqprint">
            <a:extLst>
              <a:ext uri="{28A0092B-C50C-407E-A947-70E740481C1C}">
                <a14:useLocalDpi xmlns:a14="http://schemas.microsoft.com/office/drawing/2010/main" val="0"/>
              </a:ext>
            </a:extLst>
          </a:blip>
          <a:stretch>
            <a:fillRect/>
          </a:stretch>
        </p:blipFill>
        <p:spPr>
          <a:xfrm>
            <a:off x="169271" y="4932000"/>
            <a:ext cx="288000" cy="288000"/>
          </a:xfrm>
          <a:prstGeom prst="rect">
            <a:avLst/>
          </a:prstGeom>
        </p:spPr>
      </p:pic>
      <p:sp>
        <p:nvSpPr>
          <p:cNvPr id="89" name="Прямоугольник 88">
            <a:extLst>
              <a:ext uri="{FF2B5EF4-FFF2-40B4-BE49-F238E27FC236}">
                <a16:creationId xmlns:a16="http://schemas.microsoft.com/office/drawing/2014/main" id="{E1A9A21B-F4E7-EF41-BBA3-EF3B2088F127}"/>
              </a:ext>
            </a:extLst>
          </p:cNvPr>
          <p:cNvSpPr/>
          <p:nvPr userDrawn="1"/>
        </p:nvSpPr>
        <p:spPr>
          <a:xfrm>
            <a:off x="0" y="140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3" name="TextBox 102">
            <a:extLst>
              <a:ext uri="{FF2B5EF4-FFF2-40B4-BE49-F238E27FC236}">
                <a16:creationId xmlns:a16="http://schemas.microsoft.com/office/drawing/2014/main" id="{0650505C-451A-8C4E-8A92-7D51AA6BACA0}"/>
              </a:ext>
            </a:extLst>
          </p:cNvPr>
          <p:cNvSpPr txBox="1"/>
          <p:nvPr userDrawn="1"/>
        </p:nvSpPr>
        <p:spPr>
          <a:xfrm>
            <a:off x="604489" y="15045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104" name="Рисунок 103">
            <a:extLst>
              <a:ext uri="{FF2B5EF4-FFF2-40B4-BE49-F238E27FC236}">
                <a16:creationId xmlns:a16="http://schemas.microsoft.com/office/drawing/2014/main" id="{57FE7CE8-5631-6746-BE81-1347C15B7CBB}"/>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69270" y="1476000"/>
            <a:ext cx="288000" cy="288000"/>
          </a:xfrm>
          <a:prstGeom prst="rect">
            <a:avLst/>
          </a:prstGeom>
        </p:spPr>
      </p:pic>
      <p:sp>
        <p:nvSpPr>
          <p:cNvPr id="105" name="Прямоугольник 104">
            <a:extLst>
              <a:ext uri="{FF2B5EF4-FFF2-40B4-BE49-F238E27FC236}">
                <a16:creationId xmlns:a16="http://schemas.microsoft.com/office/drawing/2014/main" id="{0EC76742-38B6-7043-8608-9E21820A8E33}"/>
              </a:ext>
            </a:extLst>
          </p:cNvPr>
          <p:cNvSpPr/>
          <p:nvPr userDrawn="1"/>
        </p:nvSpPr>
        <p:spPr>
          <a:xfrm>
            <a:off x="0" y="529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8" name="TextBox 107">
            <a:extLst>
              <a:ext uri="{FF2B5EF4-FFF2-40B4-BE49-F238E27FC236}">
                <a16:creationId xmlns:a16="http://schemas.microsoft.com/office/drawing/2014/main" id="{224C703D-2BE6-CB49-99B3-FA8CE9027ABA}"/>
              </a:ext>
            </a:extLst>
          </p:cNvPr>
          <p:cNvSpPr txBox="1"/>
          <p:nvPr userDrawn="1"/>
        </p:nvSpPr>
        <p:spPr>
          <a:xfrm>
            <a:off x="604489" y="53925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109" name="Рисунок 108">
            <a:extLst>
              <a:ext uri="{FF2B5EF4-FFF2-40B4-BE49-F238E27FC236}">
                <a16:creationId xmlns:a16="http://schemas.microsoft.com/office/drawing/2014/main" id="{AF5DF4B9-DA5C-3B46-BA60-39BCD4AB2992}"/>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69270" y="5364000"/>
            <a:ext cx="288000" cy="288000"/>
          </a:xfrm>
          <a:prstGeom prst="rect">
            <a:avLst/>
          </a:prstGeom>
        </p:spPr>
      </p:pic>
      <p:sp>
        <p:nvSpPr>
          <p:cNvPr id="110" name="Прямоугольник 109">
            <a:extLst>
              <a:ext uri="{FF2B5EF4-FFF2-40B4-BE49-F238E27FC236}">
                <a16:creationId xmlns:a16="http://schemas.microsoft.com/office/drawing/2014/main" id="{C65FD8C4-A7B6-9545-945E-47424E255D30}"/>
              </a:ext>
            </a:extLst>
          </p:cNvPr>
          <p:cNvSpPr/>
          <p:nvPr userDrawn="1"/>
        </p:nvSpPr>
        <p:spPr>
          <a:xfrm>
            <a:off x="0" y="54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1" name="TextBox 110">
            <a:extLst>
              <a:ext uri="{FF2B5EF4-FFF2-40B4-BE49-F238E27FC236}">
                <a16:creationId xmlns:a16="http://schemas.microsoft.com/office/drawing/2014/main" id="{AAFD8516-83DB-FF4C-8AD7-0E54274ECD26}"/>
              </a:ext>
            </a:extLst>
          </p:cNvPr>
          <p:cNvSpPr txBox="1"/>
          <p:nvPr userDrawn="1"/>
        </p:nvSpPr>
        <p:spPr>
          <a:xfrm>
            <a:off x="604489" y="6405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112" name="Рисунок 111">
            <a:extLst>
              <a:ext uri="{FF2B5EF4-FFF2-40B4-BE49-F238E27FC236}">
                <a16:creationId xmlns:a16="http://schemas.microsoft.com/office/drawing/2014/main" id="{EF42D8E7-1760-D94E-87DC-625A6E3B5889}"/>
              </a:ext>
            </a:extLst>
          </p:cNvPr>
          <p:cNvPicPr>
            <a:picLocks noChangeAspect="1"/>
          </p:cNvPicPr>
          <p:nvPr userDrawn="1"/>
        </p:nvPicPr>
        <p:blipFill>
          <a:blip r:embed="rId12" cstate="hqprint">
            <a:extLst>
              <a:ext uri="{28A0092B-C50C-407E-A947-70E740481C1C}">
                <a14:useLocalDpi xmlns:a14="http://schemas.microsoft.com/office/drawing/2010/main" val="0"/>
              </a:ext>
            </a:extLst>
          </a:blip>
          <a:stretch>
            <a:fillRect/>
          </a:stretch>
        </p:blipFill>
        <p:spPr>
          <a:xfrm>
            <a:off x="169271" y="612000"/>
            <a:ext cx="288000" cy="288000"/>
          </a:xfrm>
          <a:prstGeom prst="rect">
            <a:avLst/>
          </a:prstGeom>
        </p:spPr>
      </p:pic>
      <p:sp>
        <p:nvSpPr>
          <p:cNvPr id="113" name="Прямоугольник 112">
            <a:extLst>
              <a:ext uri="{FF2B5EF4-FFF2-40B4-BE49-F238E27FC236}">
                <a16:creationId xmlns:a16="http://schemas.microsoft.com/office/drawing/2014/main" id="{527A3BF6-FE6C-F34C-8724-863B35B459F9}"/>
              </a:ext>
            </a:extLst>
          </p:cNvPr>
          <p:cNvSpPr/>
          <p:nvPr userDrawn="1"/>
        </p:nvSpPr>
        <p:spPr>
          <a:xfrm>
            <a:off x="0" y="572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4" name="TextBox 113">
            <a:extLst>
              <a:ext uri="{FF2B5EF4-FFF2-40B4-BE49-F238E27FC236}">
                <a16:creationId xmlns:a16="http://schemas.microsoft.com/office/drawing/2014/main" id="{B4A1EE02-C394-B149-BD71-D124B9FC27A2}"/>
              </a:ext>
            </a:extLst>
          </p:cNvPr>
          <p:cNvSpPr txBox="1"/>
          <p:nvPr userDrawn="1"/>
        </p:nvSpPr>
        <p:spPr>
          <a:xfrm>
            <a:off x="604489" y="58245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116" name="Рисунок 115">
            <a:extLst>
              <a:ext uri="{FF2B5EF4-FFF2-40B4-BE49-F238E27FC236}">
                <a16:creationId xmlns:a16="http://schemas.microsoft.com/office/drawing/2014/main" id="{89EF3026-DCCE-6B43-A867-502134721609}"/>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69271" y="5796000"/>
            <a:ext cx="288000" cy="288000"/>
          </a:xfrm>
          <a:prstGeom prst="rect">
            <a:avLst/>
          </a:prstGeom>
        </p:spPr>
      </p:pic>
      <p:sp>
        <p:nvSpPr>
          <p:cNvPr id="117" name="Прямоугольник 116">
            <a:extLst>
              <a:ext uri="{FF2B5EF4-FFF2-40B4-BE49-F238E27FC236}">
                <a16:creationId xmlns:a16="http://schemas.microsoft.com/office/drawing/2014/main" id="{C521788E-9CDF-C94B-BC80-5736D1CA91E3}"/>
              </a:ext>
            </a:extLst>
          </p:cNvPr>
          <p:cNvSpPr/>
          <p:nvPr userDrawn="1"/>
        </p:nvSpPr>
        <p:spPr>
          <a:xfrm>
            <a:off x="0" y="615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8" name="TextBox 117">
            <a:extLst>
              <a:ext uri="{FF2B5EF4-FFF2-40B4-BE49-F238E27FC236}">
                <a16:creationId xmlns:a16="http://schemas.microsoft.com/office/drawing/2014/main" id="{84258B79-D0F7-A24A-8A4A-52502D590BFA}"/>
              </a:ext>
            </a:extLst>
          </p:cNvPr>
          <p:cNvSpPr txBox="1"/>
          <p:nvPr userDrawn="1"/>
        </p:nvSpPr>
        <p:spPr>
          <a:xfrm>
            <a:off x="604489" y="62565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119" name="Рисунок 118">
            <a:extLst>
              <a:ext uri="{FF2B5EF4-FFF2-40B4-BE49-F238E27FC236}">
                <a16:creationId xmlns:a16="http://schemas.microsoft.com/office/drawing/2014/main" id="{8C253F3C-90C4-1444-8AAD-B1A8DC312280}"/>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6228000"/>
            <a:ext cx="288000" cy="288000"/>
          </a:xfrm>
          <a:prstGeom prst="rect">
            <a:avLst/>
          </a:prstGeom>
        </p:spPr>
      </p:pic>
      <p:sp>
        <p:nvSpPr>
          <p:cNvPr id="159" name="Прямоугольник 158">
            <a:extLst>
              <a:ext uri="{FF2B5EF4-FFF2-40B4-BE49-F238E27FC236}">
                <a16:creationId xmlns:a16="http://schemas.microsoft.com/office/drawing/2014/main" id="{548D4854-4171-1F41-8F6F-258A2DCB6E27}"/>
              </a:ext>
            </a:extLst>
          </p:cNvPr>
          <p:cNvSpPr/>
          <p:nvPr userDrawn="1"/>
        </p:nvSpPr>
        <p:spPr>
          <a:xfrm>
            <a:off x="0" y="9720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75" name="TextBox 174">
            <a:extLst>
              <a:ext uri="{FF2B5EF4-FFF2-40B4-BE49-F238E27FC236}">
                <a16:creationId xmlns:a16="http://schemas.microsoft.com/office/drawing/2014/main" id="{E5BE9831-0B6C-E04C-97A5-D36F50959E20}"/>
              </a:ext>
            </a:extLst>
          </p:cNvPr>
          <p:cNvSpPr txBox="1"/>
          <p:nvPr userDrawn="1"/>
        </p:nvSpPr>
        <p:spPr>
          <a:xfrm>
            <a:off x="604489" y="1072584"/>
            <a:ext cx="1439290" cy="230832"/>
          </a:xfrm>
          <a:prstGeom prst="rect">
            <a:avLst/>
          </a:prstGeom>
          <a:noFill/>
        </p:spPr>
        <p:txBody>
          <a:bodyPr wrap="square" rtlCol="0" anchor="ctr">
            <a:spAutoFit/>
          </a:bodyPr>
          <a:lstStyle/>
          <a:p>
            <a:r>
              <a:rPr lang="ru-RU" sz="900" b="1" dirty="0">
                <a:solidFill>
                  <a:schemeClr val="bg1"/>
                </a:solidFill>
              </a:rPr>
              <a:t>Календарь событий</a:t>
            </a:r>
          </a:p>
        </p:txBody>
      </p:sp>
      <p:pic>
        <p:nvPicPr>
          <p:cNvPr id="176" name="Рисунок 175">
            <a:extLst>
              <a:ext uri="{FF2B5EF4-FFF2-40B4-BE49-F238E27FC236}">
                <a16:creationId xmlns:a16="http://schemas.microsoft.com/office/drawing/2014/main" id="{E673772C-EDB8-294A-8C21-8F8AC1C21C89}"/>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171523" y="1044000"/>
            <a:ext cx="288000" cy="288000"/>
          </a:xfrm>
          <a:prstGeom prst="rect">
            <a:avLst/>
          </a:prstGeom>
        </p:spPr>
      </p:pic>
      <p:sp>
        <p:nvSpPr>
          <p:cNvPr id="53" name="Прямоугольник 52">
            <a:extLst>
              <a:ext uri="{FF2B5EF4-FFF2-40B4-BE49-F238E27FC236}">
                <a16:creationId xmlns:a16="http://schemas.microsoft.com/office/drawing/2014/main" id="{1B975F0A-56CC-514F-BE4D-9A634947AB32}"/>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4" name="Рисунок 53">
            <a:extLst>
              <a:ext uri="{FF2B5EF4-FFF2-40B4-BE49-F238E27FC236}">
                <a16:creationId xmlns:a16="http://schemas.microsoft.com/office/drawing/2014/main" id="{4C8316A8-8131-6549-ABA6-F553F0A73886}"/>
              </a:ext>
            </a:extLst>
          </p:cNvPr>
          <p:cNvPicPr>
            <a:picLocks noChangeAspect="1"/>
          </p:cNvPicPr>
          <p:nvPr userDrawn="1"/>
        </p:nvPicPr>
        <p:blipFill rotWithShape="1">
          <a:blip r:embed="rId16"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pic>
        <p:nvPicPr>
          <p:cNvPr id="2" name="Рисунок 1"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3" name="Рисунок 2"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spTree>
    <p:extLst>
      <p:ext uri="{BB962C8B-B14F-4D97-AF65-F5344CB8AC3E}">
        <p14:creationId xmlns:p14="http://schemas.microsoft.com/office/powerpoint/2010/main" val="176427299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3_Приоритеты недели">
    <p:spTree>
      <p:nvGrpSpPr>
        <p:cNvPr id="1" name=""/>
        <p:cNvGrpSpPr/>
        <p:nvPr/>
      </p:nvGrpSpPr>
      <p:grpSpPr>
        <a:xfrm>
          <a:off x="0" y="0"/>
          <a:ext cx="0" cy="0"/>
          <a:chOff x="0" y="0"/>
          <a:chExt cx="0" cy="0"/>
        </a:xfrm>
      </p:grpSpPr>
      <p:sp>
        <p:nvSpPr>
          <p:cNvPr id="37" name="Прямоугольник 36">
            <a:extLst>
              <a:ext uri="{FF2B5EF4-FFF2-40B4-BE49-F238E27FC236}">
                <a16:creationId xmlns:a16="http://schemas.microsoft.com/office/drawing/2014/main" id="{C7C0D7C3-CC59-3B49-ABC6-4F8464497852}"/>
              </a:ext>
            </a:extLst>
          </p:cNvPr>
          <p:cNvSpPr/>
          <p:nvPr userDrawn="1"/>
        </p:nvSpPr>
        <p:spPr>
          <a:xfrm>
            <a:off x="2135560" y="1"/>
            <a:ext cx="1006719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Title 1">
            <a:extLst>
              <a:ext uri="{FF2B5EF4-FFF2-40B4-BE49-F238E27FC236}">
                <a16:creationId xmlns:a16="http://schemas.microsoft.com/office/drawing/2014/main" id="{46692CE3-CF99-6C4D-AF87-4EEE237AD060}"/>
              </a:ext>
            </a:extLst>
          </p:cNvPr>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0" name="TextBox 89">
            <a:extLst>
              <a:ext uri="{FF2B5EF4-FFF2-40B4-BE49-F238E27FC236}">
                <a16:creationId xmlns:a16="http://schemas.microsoft.com/office/drawing/2014/main" id="{E3D8E97D-D9AF-1B47-B901-3877729DACA8}"/>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grpSp>
        <p:nvGrpSpPr>
          <p:cNvPr id="57" name="Группа 56">
            <a:extLst>
              <a:ext uri="{FF2B5EF4-FFF2-40B4-BE49-F238E27FC236}">
                <a16:creationId xmlns:a16="http://schemas.microsoft.com/office/drawing/2014/main" id="{FB99702D-BE99-3C48-82DF-F0156E50206C}"/>
              </a:ext>
            </a:extLst>
          </p:cNvPr>
          <p:cNvGrpSpPr/>
          <p:nvPr userDrawn="1"/>
        </p:nvGrpSpPr>
        <p:grpSpPr>
          <a:xfrm>
            <a:off x="0" y="-7200"/>
            <a:ext cx="2148770" cy="553998"/>
            <a:chOff x="0" y="11193"/>
            <a:chExt cx="2148770" cy="553998"/>
          </a:xfrm>
        </p:grpSpPr>
        <p:sp>
          <p:nvSpPr>
            <p:cNvPr id="58" name="Прямоугольник 57">
              <a:extLst>
                <a:ext uri="{FF2B5EF4-FFF2-40B4-BE49-F238E27FC236}">
                  <a16:creationId xmlns:a16="http://schemas.microsoft.com/office/drawing/2014/main" id="{780E29A5-9D79-834B-93D1-74EC3CE41E56}"/>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 name="TextBox 58">
              <a:extLst>
                <a:ext uri="{FF2B5EF4-FFF2-40B4-BE49-F238E27FC236}">
                  <a16:creationId xmlns:a16="http://schemas.microsoft.com/office/drawing/2014/main" id="{733B57FE-B444-084B-A8A8-48BF6BF3E11E}"/>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60" name="TextBox 59">
              <a:extLst>
                <a:ext uri="{FF2B5EF4-FFF2-40B4-BE49-F238E27FC236}">
                  <a16:creationId xmlns:a16="http://schemas.microsoft.com/office/drawing/2014/main" id="{0D46261A-B3EA-824B-87A4-9883D3ABB52B}"/>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62" name="Прямоугольник 61">
            <a:extLst>
              <a:ext uri="{FF2B5EF4-FFF2-40B4-BE49-F238E27FC236}">
                <a16:creationId xmlns:a16="http://schemas.microsoft.com/office/drawing/2014/main" id="{419E23B9-6290-744E-96C0-98100FB04ACD}"/>
              </a:ext>
            </a:extLst>
          </p:cNvPr>
          <p:cNvSpPr/>
          <p:nvPr userDrawn="1"/>
        </p:nvSpPr>
        <p:spPr>
          <a:xfrm>
            <a:off x="0" y="313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3" name="TextBox 62">
            <a:extLst>
              <a:ext uri="{FF2B5EF4-FFF2-40B4-BE49-F238E27FC236}">
                <a16:creationId xmlns:a16="http://schemas.microsoft.com/office/drawing/2014/main" id="{847FD6FF-C589-EE48-BDB5-01C265C9059D}"/>
              </a:ext>
            </a:extLst>
          </p:cNvPr>
          <p:cNvSpPr txBox="1"/>
          <p:nvPr userDrawn="1"/>
        </p:nvSpPr>
        <p:spPr>
          <a:xfrm>
            <a:off x="604489" y="32325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64" name="Рисунок 63">
            <a:extLst>
              <a:ext uri="{FF2B5EF4-FFF2-40B4-BE49-F238E27FC236}">
                <a16:creationId xmlns:a16="http://schemas.microsoft.com/office/drawing/2014/main" id="{9C22DFD4-262F-064D-843A-C0550669B36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3204000"/>
            <a:ext cx="288000" cy="288000"/>
          </a:xfrm>
          <a:prstGeom prst="rect">
            <a:avLst/>
          </a:prstGeom>
        </p:spPr>
      </p:pic>
      <p:sp>
        <p:nvSpPr>
          <p:cNvPr id="65" name="Прямоугольник 64">
            <a:extLst>
              <a:ext uri="{FF2B5EF4-FFF2-40B4-BE49-F238E27FC236}">
                <a16:creationId xmlns:a16="http://schemas.microsoft.com/office/drawing/2014/main" id="{1BD48109-ED40-6044-B297-4A5709FA33E8}"/>
              </a:ext>
            </a:extLst>
          </p:cNvPr>
          <p:cNvSpPr/>
          <p:nvPr userDrawn="1"/>
        </p:nvSpPr>
        <p:spPr>
          <a:xfrm>
            <a:off x="0" y="270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 name="TextBox 65">
            <a:extLst>
              <a:ext uri="{FF2B5EF4-FFF2-40B4-BE49-F238E27FC236}">
                <a16:creationId xmlns:a16="http://schemas.microsoft.com/office/drawing/2014/main" id="{2ECBBF4D-D2BA-DE47-B942-752346F0F287}"/>
              </a:ext>
            </a:extLst>
          </p:cNvPr>
          <p:cNvSpPr txBox="1"/>
          <p:nvPr userDrawn="1"/>
        </p:nvSpPr>
        <p:spPr>
          <a:xfrm>
            <a:off x="604489" y="28005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67" name="Рисунок 66">
            <a:extLst>
              <a:ext uri="{FF2B5EF4-FFF2-40B4-BE49-F238E27FC236}">
                <a16:creationId xmlns:a16="http://schemas.microsoft.com/office/drawing/2014/main" id="{3CD0BAC3-0E12-0149-A0AF-FA1659F8582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9271" y="2772000"/>
            <a:ext cx="288000" cy="288000"/>
          </a:xfrm>
          <a:prstGeom prst="rect">
            <a:avLst/>
          </a:prstGeom>
        </p:spPr>
      </p:pic>
      <p:sp>
        <p:nvSpPr>
          <p:cNvPr id="68" name="Прямоугольник 67">
            <a:extLst>
              <a:ext uri="{FF2B5EF4-FFF2-40B4-BE49-F238E27FC236}">
                <a16:creationId xmlns:a16="http://schemas.microsoft.com/office/drawing/2014/main" id="{E97D1CA2-FB55-BB44-A76A-C3520AE45D4E}"/>
              </a:ext>
            </a:extLst>
          </p:cNvPr>
          <p:cNvSpPr/>
          <p:nvPr userDrawn="1"/>
        </p:nvSpPr>
        <p:spPr>
          <a:xfrm>
            <a:off x="0" y="226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 name="TextBox 68">
            <a:extLst>
              <a:ext uri="{FF2B5EF4-FFF2-40B4-BE49-F238E27FC236}">
                <a16:creationId xmlns:a16="http://schemas.microsoft.com/office/drawing/2014/main" id="{0193CA87-C392-374F-BCDB-1D816A3CD514}"/>
              </a:ext>
            </a:extLst>
          </p:cNvPr>
          <p:cNvSpPr txBox="1"/>
          <p:nvPr userDrawn="1"/>
        </p:nvSpPr>
        <p:spPr>
          <a:xfrm>
            <a:off x="604489" y="22993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70" name="Рисунок 69">
            <a:extLst>
              <a:ext uri="{FF2B5EF4-FFF2-40B4-BE49-F238E27FC236}">
                <a16:creationId xmlns:a16="http://schemas.microsoft.com/office/drawing/2014/main" id="{4FC98A43-2BEE-674C-A26A-63BFC595D405}"/>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69271" y="2340000"/>
            <a:ext cx="288000" cy="288000"/>
          </a:xfrm>
          <a:prstGeom prst="rect">
            <a:avLst/>
          </a:prstGeom>
        </p:spPr>
      </p:pic>
      <p:sp>
        <p:nvSpPr>
          <p:cNvPr id="71" name="Прямоугольник 70">
            <a:extLst>
              <a:ext uri="{FF2B5EF4-FFF2-40B4-BE49-F238E27FC236}">
                <a16:creationId xmlns:a16="http://schemas.microsoft.com/office/drawing/2014/main" id="{49C6E907-A248-4E41-8C5F-E3B7AB993B1B}"/>
              </a:ext>
            </a:extLst>
          </p:cNvPr>
          <p:cNvSpPr/>
          <p:nvPr userDrawn="1"/>
        </p:nvSpPr>
        <p:spPr>
          <a:xfrm>
            <a:off x="0" y="183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 name="TextBox 71">
            <a:extLst>
              <a:ext uri="{FF2B5EF4-FFF2-40B4-BE49-F238E27FC236}">
                <a16:creationId xmlns:a16="http://schemas.microsoft.com/office/drawing/2014/main" id="{2FB38145-B4F8-1947-841A-7489A4C072CB}"/>
              </a:ext>
            </a:extLst>
          </p:cNvPr>
          <p:cNvSpPr txBox="1"/>
          <p:nvPr userDrawn="1"/>
        </p:nvSpPr>
        <p:spPr>
          <a:xfrm>
            <a:off x="604489" y="18673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73" name="Рисунок 72">
            <a:extLst>
              <a:ext uri="{FF2B5EF4-FFF2-40B4-BE49-F238E27FC236}">
                <a16:creationId xmlns:a16="http://schemas.microsoft.com/office/drawing/2014/main" id="{A543066D-AD39-7F43-AB66-47779AF6D16E}"/>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169271" y="1908000"/>
            <a:ext cx="288000" cy="288000"/>
          </a:xfrm>
          <a:prstGeom prst="rect">
            <a:avLst/>
          </a:prstGeom>
        </p:spPr>
      </p:pic>
      <p:sp>
        <p:nvSpPr>
          <p:cNvPr id="74" name="Прямоугольник 73">
            <a:extLst>
              <a:ext uri="{FF2B5EF4-FFF2-40B4-BE49-F238E27FC236}">
                <a16:creationId xmlns:a16="http://schemas.microsoft.com/office/drawing/2014/main" id="{134917F6-DBDC-944A-9D78-7EAE0EA9A92A}"/>
              </a:ext>
            </a:extLst>
          </p:cNvPr>
          <p:cNvSpPr/>
          <p:nvPr userDrawn="1"/>
        </p:nvSpPr>
        <p:spPr>
          <a:xfrm>
            <a:off x="0" y="442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 name="TextBox 74">
            <a:extLst>
              <a:ext uri="{FF2B5EF4-FFF2-40B4-BE49-F238E27FC236}">
                <a16:creationId xmlns:a16="http://schemas.microsoft.com/office/drawing/2014/main" id="{FD7681A0-7D78-5845-A7D1-9A4FD7DF7377}"/>
              </a:ext>
            </a:extLst>
          </p:cNvPr>
          <p:cNvSpPr txBox="1"/>
          <p:nvPr userDrawn="1"/>
        </p:nvSpPr>
        <p:spPr>
          <a:xfrm>
            <a:off x="604489" y="45285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76" name="Рисунок 75">
            <a:extLst>
              <a:ext uri="{FF2B5EF4-FFF2-40B4-BE49-F238E27FC236}">
                <a16:creationId xmlns:a16="http://schemas.microsoft.com/office/drawing/2014/main" id="{ECA15904-8A47-3A46-8CF2-1636F18BEED1}"/>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69271" y="4500000"/>
            <a:ext cx="288000" cy="288000"/>
          </a:xfrm>
          <a:prstGeom prst="rect">
            <a:avLst/>
          </a:prstGeom>
        </p:spPr>
      </p:pic>
      <p:sp>
        <p:nvSpPr>
          <p:cNvPr id="77" name="Прямоугольник 76">
            <a:extLst>
              <a:ext uri="{FF2B5EF4-FFF2-40B4-BE49-F238E27FC236}">
                <a16:creationId xmlns:a16="http://schemas.microsoft.com/office/drawing/2014/main" id="{517ABE55-0EB2-B443-9C4F-356573931BC4}"/>
              </a:ext>
            </a:extLst>
          </p:cNvPr>
          <p:cNvSpPr/>
          <p:nvPr userDrawn="1"/>
        </p:nvSpPr>
        <p:spPr>
          <a:xfrm>
            <a:off x="0" y="356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 name="TextBox 77">
            <a:extLst>
              <a:ext uri="{FF2B5EF4-FFF2-40B4-BE49-F238E27FC236}">
                <a16:creationId xmlns:a16="http://schemas.microsoft.com/office/drawing/2014/main" id="{DC95BDB0-BCF3-254D-AF7B-59B854D81E30}"/>
              </a:ext>
            </a:extLst>
          </p:cNvPr>
          <p:cNvSpPr txBox="1"/>
          <p:nvPr userDrawn="1"/>
        </p:nvSpPr>
        <p:spPr>
          <a:xfrm>
            <a:off x="604489" y="36645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79" name="Рисунок 78">
            <a:extLst>
              <a:ext uri="{FF2B5EF4-FFF2-40B4-BE49-F238E27FC236}">
                <a16:creationId xmlns:a16="http://schemas.microsoft.com/office/drawing/2014/main" id="{2695740B-A6DF-CA41-8C3C-8D63BDF0A45F}"/>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69271" y="3636000"/>
            <a:ext cx="288000" cy="288000"/>
          </a:xfrm>
          <a:prstGeom prst="rect">
            <a:avLst/>
          </a:prstGeom>
        </p:spPr>
      </p:pic>
      <p:sp>
        <p:nvSpPr>
          <p:cNvPr id="80" name="Прямоугольник 79">
            <a:extLst>
              <a:ext uri="{FF2B5EF4-FFF2-40B4-BE49-F238E27FC236}">
                <a16:creationId xmlns:a16="http://schemas.microsoft.com/office/drawing/2014/main" id="{1117B474-9292-BF45-A978-B9DD25D5F048}"/>
              </a:ext>
            </a:extLst>
          </p:cNvPr>
          <p:cNvSpPr/>
          <p:nvPr userDrawn="1"/>
        </p:nvSpPr>
        <p:spPr>
          <a:xfrm>
            <a:off x="0" y="399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 name="TextBox 80">
            <a:extLst>
              <a:ext uri="{FF2B5EF4-FFF2-40B4-BE49-F238E27FC236}">
                <a16:creationId xmlns:a16="http://schemas.microsoft.com/office/drawing/2014/main" id="{B4E3AE74-7B37-354C-8992-1EAA3F66A57B}"/>
              </a:ext>
            </a:extLst>
          </p:cNvPr>
          <p:cNvSpPr txBox="1"/>
          <p:nvPr userDrawn="1"/>
        </p:nvSpPr>
        <p:spPr>
          <a:xfrm>
            <a:off x="604489" y="40965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82" name="Рисунок 81">
            <a:extLst>
              <a:ext uri="{FF2B5EF4-FFF2-40B4-BE49-F238E27FC236}">
                <a16:creationId xmlns:a16="http://schemas.microsoft.com/office/drawing/2014/main" id="{8DE1D619-ABB7-D140-B706-1A7901FE6C0E}"/>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69271" y="4068000"/>
            <a:ext cx="288000" cy="288000"/>
          </a:xfrm>
          <a:prstGeom prst="rect">
            <a:avLst/>
          </a:prstGeom>
        </p:spPr>
      </p:pic>
      <p:sp>
        <p:nvSpPr>
          <p:cNvPr id="83" name="Прямоугольник 82">
            <a:extLst>
              <a:ext uri="{FF2B5EF4-FFF2-40B4-BE49-F238E27FC236}">
                <a16:creationId xmlns:a16="http://schemas.microsoft.com/office/drawing/2014/main" id="{9B3A3999-4787-4045-96CD-37CF655B5D7B}"/>
              </a:ext>
            </a:extLst>
          </p:cNvPr>
          <p:cNvSpPr/>
          <p:nvPr userDrawn="1"/>
        </p:nvSpPr>
        <p:spPr>
          <a:xfrm>
            <a:off x="0" y="97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 name="TextBox 83">
            <a:extLst>
              <a:ext uri="{FF2B5EF4-FFF2-40B4-BE49-F238E27FC236}">
                <a16:creationId xmlns:a16="http://schemas.microsoft.com/office/drawing/2014/main" id="{AB970C35-9DF5-714B-96B9-8BD3FA7D41EE}"/>
              </a:ext>
            </a:extLst>
          </p:cNvPr>
          <p:cNvSpPr txBox="1"/>
          <p:nvPr userDrawn="1"/>
        </p:nvSpPr>
        <p:spPr>
          <a:xfrm>
            <a:off x="604489" y="10725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85" name="Рисунок 84">
            <a:extLst>
              <a:ext uri="{FF2B5EF4-FFF2-40B4-BE49-F238E27FC236}">
                <a16:creationId xmlns:a16="http://schemas.microsoft.com/office/drawing/2014/main" id="{3EA545D1-32E2-9642-80B9-4802AFC31894}"/>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69271" y="1044000"/>
            <a:ext cx="288000" cy="288000"/>
          </a:xfrm>
          <a:prstGeom prst="rect">
            <a:avLst/>
          </a:prstGeom>
        </p:spPr>
      </p:pic>
      <p:sp>
        <p:nvSpPr>
          <p:cNvPr id="86" name="Прямоугольник 85">
            <a:extLst>
              <a:ext uri="{FF2B5EF4-FFF2-40B4-BE49-F238E27FC236}">
                <a16:creationId xmlns:a16="http://schemas.microsoft.com/office/drawing/2014/main" id="{241095CC-BB37-4140-AEDC-D7BA82E384E0}"/>
              </a:ext>
            </a:extLst>
          </p:cNvPr>
          <p:cNvSpPr/>
          <p:nvPr userDrawn="1"/>
        </p:nvSpPr>
        <p:spPr>
          <a:xfrm>
            <a:off x="0" y="486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 name="TextBox 86">
            <a:extLst>
              <a:ext uri="{FF2B5EF4-FFF2-40B4-BE49-F238E27FC236}">
                <a16:creationId xmlns:a16="http://schemas.microsoft.com/office/drawing/2014/main" id="{46952689-3042-8145-B6FD-FDEC427B8979}"/>
              </a:ext>
            </a:extLst>
          </p:cNvPr>
          <p:cNvSpPr txBox="1"/>
          <p:nvPr userDrawn="1"/>
        </p:nvSpPr>
        <p:spPr>
          <a:xfrm>
            <a:off x="604489" y="49605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88" name="Рисунок 87">
            <a:extLst>
              <a:ext uri="{FF2B5EF4-FFF2-40B4-BE49-F238E27FC236}">
                <a16:creationId xmlns:a16="http://schemas.microsoft.com/office/drawing/2014/main" id="{524C1871-396A-374E-980F-84FE3F7235D5}"/>
              </a:ext>
            </a:extLst>
          </p:cNvPr>
          <p:cNvPicPr>
            <a:picLocks noChangeAspect="1"/>
          </p:cNvPicPr>
          <p:nvPr userDrawn="1"/>
        </p:nvPicPr>
        <p:blipFill>
          <a:blip r:embed="rId10" cstate="hqprint">
            <a:extLst>
              <a:ext uri="{28A0092B-C50C-407E-A947-70E740481C1C}">
                <a14:useLocalDpi xmlns:a14="http://schemas.microsoft.com/office/drawing/2010/main" val="0"/>
              </a:ext>
            </a:extLst>
          </a:blip>
          <a:stretch>
            <a:fillRect/>
          </a:stretch>
        </p:blipFill>
        <p:spPr>
          <a:xfrm>
            <a:off x="169271" y="4932000"/>
            <a:ext cx="288000" cy="288000"/>
          </a:xfrm>
          <a:prstGeom prst="rect">
            <a:avLst/>
          </a:prstGeom>
        </p:spPr>
      </p:pic>
      <p:sp>
        <p:nvSpPr>
          <p:cNvPr id="103" name="Прямоугольник 102">
            <a:extLst>
              <a:ext uri="{FF2B5EF4-FFF2-40B4-BE49-F238E27FC236}">
                <a16:creationId xmlns:a16="http://schemas.microsoft.com/office/drawing/2014/main" id="{0BF70237-463B-5D42-9019-E76CF12EDB65}"/>
              </a:ext>
            </a:extLst>
          </p:cNvPr>
          <p:cNvSpPr/>
          <p:nvPr userDrawn="1"/>
        </p:nvSpPr>
        <p:spPr>
          <a:xfrm>
            <a:off x="0" y="529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4" name="TextBox 103">
            <a:extLst>
              <a:ext uri="{FF2B5EF4-FFF2-40B4-BE49-F238E27FC236}">
                <a16:creationId xmlns:a16="http://schemas.microsoft.com/office/drawing/2014/main" id="{94BA032B-6CE2-A447-AE92-58F24F3BBA99}"/>
              </a:ext>
            </a:extLst>
          </p:cNvPr>
          <p:cNvSpPr txBox="1"/>
          <p:nvPr userDrawn="1"/>
        </p:nvSpPr>
        <p:spPr>
          <a:xfrm>
            <a:off x="604489" y="53925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105" name="Рисунок 104">
            <a:extLst>
              <a:ext uri="{FF2B5EF4-FFF2-40B4-BE49-F238E27FC236}">
                <a16:creationId xmlns:a16="http://schemas.microsoft.com/office/drawing/2014/main" id="{33253CB4-F2CF-AA47-A33F-F44B13D0F950}"/>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69270" y="5364000"/>
            <a:ext cx="288000" cy="288000"/>
          </a:xfrm>
          <a:prstGeom prst="rect">
            <a:avLst/>
          </a:prstGeom>
        </p:spPr>
      </p:pic>
      <p:sp>
        <p:nvSpPr>
          <p:cNvPr id="108" name="Прямоугольник 107">
            <a:extLst>
              <a:ext uri="{FF2B5EF4-FFF2-40B4-BE49-F238E27FC236}">
                <a16:creationId xmlns:a16="http://schemas.microsoft.com/office/drawing/2014/main" id="{3E521EA4-18CB-074D-8443-BD464BFFA23D}"/>
              </a:ext>
            </a:extLst>
          </p:cNvPr>
          <p:cNvSpPr/>
          <p:nvPr userDrawn="1"/>
        </p:nvSpPr>
        <p:spPr>
          <a:xfrm>
            <a:off x="0" y="54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9" name="TextBox 108">
            <a:extLst>
              <a:ext uri="{FF2B5EF4-FFF2-40B4-BE49-F238E27FC236}">
                <a16:creationId xmlns:a16="http://schemas.microsoft.com/office/drawing/2014/main" id="{AAF62C9D-E3B9-4348-861C-E0B50BF537F3}"/>
              </a:ext>
            </a:extLst>
          </p:cNvPr>
          <p:cNvSpPr txBox="1"/>
          <p:nvPr userDrawn="1"/>
        </p:nvSpPr>
        <p:spPr>
          <a:xfrm>
            <a:off x="604489" y="6405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110" name="Рисунок 109">
            <a:extLst>
              <a:ext uri="{FF2B5EF4-FFF2-40B4-BE49-F238E27FC236}">
                <a16:creationId xmlns:a16="http://schemas.microsoft.com/office/drawing/2014/main" id="{FE6EDD20-3194-204B-AFD6-9F2E770E2C5E}"/>
              </a:ext>
            </a:extLst>
          </p:cNvPr>
          <p:cNvPicPr>
            <a:picLocks noChangeAspect="1"/>
          </p:cNvPicPr>
          <p:nvPr userDrawn="1"/>
        </p:nvPicPr>
        <p:blipFill>
          <a:blip r:embed="rId12" cstate="hqprint">
            <a:extLst>
              <a:ext uri="{28A0092B-C50C-407E-A947-70E740481C1C}">
                <a14:useLocalDpi xmlns:a14="http://schemas.microsoft.com/office/drawing/2010/main" val="0"/>
              </a:ext>
            </a:extLst>
          </a:blip>
          <a:stretch>
            <a:fillRect/>
          </a:stretch>
        </p:blipFill>
        <p:spPr>
          <a:xfrm>
            <a:off x="169271" y="612000"/>
            <a:ext cx="288000" cy="288000"/>
          </a:xfrm>
          <a:prstGeom prst="rect">
            <a:avLst/>
          </a:prstGeom>
        </p:spPr>
      </p:pic>
      <p:sp>
        <p:nvSpPr>
          <p:cNvPr id="111" name="Прямоугольник 110">
            <a:extLst>
              <a:ext uri="{FF2B5EF4-FFF2-40B4-BE49-F238E27FC236}">
                <a16:creationId xmlns:a16="http://schemas.microsoft.com/office/drawing/2014/main" id="{735EF0D8-D28B-2F4B-8606-05C774033EFC}"/>
              </a:ext>
            </a:extLst>
          </p:cNvPr>
          <p:cNvSpPr/>
          <p:nvPr userDrawn="1"/>
        </p:nvSpPr>
        <p:spPr>
          <a:xfrm>
            <a:off x="0" y="572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2" name="TextBox 111">
            <a:extLst>
              <a:ext uri="{FF2B5EF4-FFF2-40B4-BE49-F238E27FC236}">
                <a16:creationId xmlns:a16="http://schemas.microsoft.com/office/drawing/2014/main" id="{7D5C3F6F-C897-C741-8F9C-6A9CAA3BBAC1}"/>
              </a:ext>
            </a:extLst>
          </p:cNvPr>
          <p:cNvSpPr txBox="1"/>
          <p:nvPr userDrawn="1"/>
        </p:nvSpPr>
        <p:spPr>
          <a:xfrm>
            <a:off x="604489" y="58245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113" name="Рисунок 112">
            <a:extLst>
              <a:ext uri="{FF2B5EF4-FFF2-40B4-BE49-F238E27FC236}">
                <a16:creationId xmlns:a16="http://schemas.microsoft.com/office/drawing/2014/main" id="{4233A461-53D4-CE41-B251-21CBD19D13A7}"/>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69271" y="5796000"/>
            <a:ext cx="288000" cy="288000"/>
          </a:xfrm>
          <a:prstGeom prst="rect">
            <a:avLst/>
          </a:prstGeom>
        </p:spPr>
      </p:pic>
      <p:sp>
        <p:nvSpPr>
          <p:cNvPr id="114" name="Прямоугольник 113">
            <a:extLst>
              <a:ext uri="{FF2B5EF4-FFF2-40B4-BE49-F238E27FC236}">
                <a16:creationId xmlns:a16="http://schemas.microsoft.com/office/drawing/2014/main" id="{7C62A594-4746-F645-9A18-50BA4C1CDD77}"/>
              </a:ext>
            </a:extLst>
          </p:cNvPr>
          <p:cNvSpPr/>
          <p:nvPr userDrawn="1"/>
        </p:nvSpPr>
        <p:spPr>
          <a:xfrm>
            <a:off x="0" y="615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6" name="TextBox 115">
            <a:extLst>
              <a:ext uri="{FF2B5EF4-FFF2-40B4-BE49-F238E27FC236}">
                <a16:creationId xmlns:a16="http://schemas.microsoft.com/office/drawing/2014/main" id="{1766E0F2-0B94-D746-B79B-3FC4654A92CC}"/>
              </a:ext>
            </a:extLst>
          </p:cNvPr>
          <p:cNvSpPr txBox="1"/>
          <p:nvPr userDrawn="1"/>
        </p:nvSpPr>
        <p:spPr>
          <a:xfrm>
            <a:off x="604489" y="62565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117" name="Рисунок 116">
            <a:extLst>
              <a:ext uri="{FF2B5EF4-FFF2-40B4-BE49-F238E27FC236}">
                <a16:creationId xmlns:a16="http://schemas.microsoft.com/office/drawing/2014/main" id="{A7D139B0-FFF9-1248-B19D-E55DD08B3ADA}"/>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6228000"/>
            <a:ext cx="288000" cy="288000"/>
          </a:xfrm>
          <a:prstGeom prst="rect">
            <a:avLst/>
          </a:prstGeom>
        </p:spPr>
      </p:pic>
      <p:sp>
        <p:nvSpPr>
          <p:cNvPr id="180" name="Прямоугольник 179">
            <a:extLst>
              <a:ext uri="{FF2B5EF4-FFF2-40B4-BE49-F238E27FC236}">
                <a16:creationId xmlns:a16="http://schemas.microsoft.com/office/drawing/2014/main" id="{A615C458-A4CD-0E42-B2DD-12C2369304AC}"/>
              </a:ext>
            </a:extLst>
          </p:cNvPr>
          <p:cNvSpPr/>
          <p:nvPr userDrawn="1"/>
        </p:nvSpPr>
        <p:spPr>
          <a:xfrm>
            <a:off x="0" y="14040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81" name="TextBox 180">
            <a:extLst>
              <a:ext uri="{FF2B5EF4-FFF2-40B4-BE49-F238E27FC236}">
                <a16:creationId xmlns:a16="http://schemas.microsoft.com/office/drawing/2014/main" id="{EDCBED69-FADA-404F-9F68-7556C2E9EB70}"/>
              </a:ext>
            </a:extLst>
          </p:cNvPr>
          <p:cNvSpPr txBox="1"/>
          <p:nvPr userDrawn="1"/>
        </p:nvSpPr>
        <p:spPr>
          <a:xfrm>
            <a:off x="604489" y="1504584"/>
            <a:ext cx="1439290" cy="230832"/>
          </a:xfrm>
          <a:prstGeom prst="rect">
            <a:avLst/>
          </a:prstGeom>
          <a:noFill/>
        </p:spPr>
        <p:txBody>
          <a:bodyPr wrap="square" rtlCol="0" anchor="ctr">
            <a:spAutoFit/>
          </a:bodyPr>
          <a:lstStyle/>
          <a:p>
            <a:r>
              <a:rPr lang="ru-RU" sz="900" b="1" dirty="0">
                <a:solidFill>
                  <a:schemeClr val="bg1"/>
                </a:solidFill>
              </a:rPr>
              <a:t>Приоритеты недели</a:t>
            </a:r>
          </a:p>
        </p:txBody>
      </p:sp>
      <p:pic>
        <p:nvPicPr>
          <p:cNvPr id="182" name="Рисунок 181">
            <a:extLst>
              <a:ext uri="{FF2B5EF4-FFF2-40B4-BE49-F238E27FC236}">
                <a16:creationId xmlns:a16="http://schemas.microsoft.com/office/drawing/2014/main" id="{B8010064-2EC8-8C4A-BFA6-5D1749681A81}"/>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171523" y="1476000"/>
            <a:ext cx="288000" cy="288000"/>
          </a:xfrm>
          <a:prstGeom prst="rect">
            <a:avLst/>
          </a:prstGeom>
        </p:spPr>
      </p:pic>
      <p:sp>
        <p:nvSpPr>
          <p:cNvPr id="53" name="Прямоугольник 52">
            <a:extLst>
              <a:ext uri="{FF2B5EF4-FFF2-40B4-BE49-F238E27FC236}">
                <a16:creationId xmlns:a16="http://schemas.microsoft.com/office/drawing/2014/main" id="{338763F2-7232-9949-8015-2EA3D3DF23EE}"/>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4" name="Рисунок 53">
            <a:extLst>
              <a:ext uri="{FF2B5EF4-FFF2-40B4-BE49-F238E27FC236}">
                <a16:creationId xmlns:a16="http://schemas.microsoft.com/office/drawing/2014/main" id="{7C1A55B1-14CA-224B-AFA8-F5B7395D9FD7}"/>
              </a:ext>
            </a:extLst>
          </p:cNvPr>
          <p:cNvPicPr>
            <a:picLocks noChangeAspect="1"/>
          </p:cNvPicPr>
          <p:nvPr userDrawn="1"/>
        </p:nvPicPr>
        <p:blipFill rotWithShape="1">
          <a:blip r:embed="rId16"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pic>
        <p:nvPicPr>
          <p:cNvPr id="2" name="Рисунок 1"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3" name="Рисунок 2"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4" name="Рисунок 3"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spTree>
    <p:extLst>
      <p:ext uri="{BB962C8B-B14F-4D97-AF65-F5344CB8AC3E}">
        <p14:creationId xmlns:p14="http://schemas.microsoft.com/office/powerpoint/2010/main" val="177701456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4_Портфельный риск-менеджмент">
    <p:spTree>
      <p:nvGrpSpPr>
        <p:cNvPr id="1" name=""/>
        <p:cNvGrpSpPr/>
        <p:nvPr/>
      </p:nvGrpSpPr>
      <p:grpSpPr>
        <a:xfrm>
          <a:off x="0" y="0"/>
          <a:ext cx="0" cy="0"/>
          <a:chOff x="0" y="0"/>
          <a:chExt cx="0" cy="0"/>
        </a:xfrm>
      </p:grpSpPr>
      <p:sp>
        <p:nvSpPr>
          <p:cNvPr id="37" name="Прямоугольник 36">
            <a:extLst>
              <a:ext uri="{FF2B5EF4-FFF2-40B4-BE49-F238E27FC236}">
                <a16:creationId xmlns:a16="http://schemas.microsoft.com/office/drawing/2014/main" id="{73E1E39B-1814-8147-9752-F1FE09CD76A2}"/>
              </a:ext>
            </a:extLst>
          </p:cNvPr>
          <p:cNvSpPr/>
          <p:nvPr userDrawn="1"/>
        </p:nvSpPr>
        <p:spPr>
          <a:xfrm>
            <a:off x="2135560" y="1"/>
            <a:ext cx="1006719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Title 1">
            <a:extLst>
              <a:ext uri="{FF2B5EF4-FFF2-40B4-BE49-F238E27FC236}">
                <a16:creationId xmlns:a16="http://schemas.microsoft.com/office/drawing/2014/main" id="{59A6F886-2BEF-B44B-A03F-A462C1C5D914}"/>
              </a:ext>
            </a:extLst>
          </p:cNvPr>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0" name="TextBox 89">
            <a:extLst>
              <a:ext uri="{FF2B5EF4-FFF2-40B4-BE49-F238E27FC236}">
                <a16:creationId xmlns:a16="http://schemas.microsoft.com/office/drawing/2014/main" id="{F0D8B3B3-4D60-EC43-97F3-28037DE4CEBE}"/>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grpSp>
        <p:nvGrpSpPr>
          <p:cNvPr id="57" name="Группа 56">
            <a:extLst>
              <a:ext uri="{FF2B5EF4-FFF2-40B4-BE49-F238E27FC236}">
                <a16:creationId xmlns:a16="http://schemas.microsoft.com/office/drawing/2014/main" id="{FE571792-41BE-044E-A382-58BF11315746}"/>
              </a:ext>
            </a:extLst>
          </p:cNvPr>
          <p:cNvGrpSpPr/>
          <p:nvPr userDrawn="1"/>
        </p:nvGrpSpPr>
        <p:grpSpPr>
          <a:xfrm>
            <a:off x="0" y="-7200"/>
            <a:ext cx="2148770" cy="553998"/>
            <a:chOff x="0" y="11193"/>
            <a:chExt cx="2148770" cy="553998"/>
          </a:xfrm>
        </p:grpSpPr>
        <p:sp>
          <p:nvSpPr>
            <p:cNvPr id="58" name="Прямоугольник 57">
              <a:extLst>
                <a:ext uri="{FF2B5EF4-FFF2-40B4-BE49-F238E27FC236}">
                  <a16:creationId xmlns:a16="http://schemas.microsoft.com/office/drawing/2014/main" id="{9501F2AD-2F64-C348-AC4D-361CA45A4F9A}"/>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 name="TextBox 58">
              <a:extLst>
                <a:ext uri="{FF2B5EF4-FFF2-40B4-BE49-F238E27FC236}">
                  <a16:creationId xmlns:a16="http://schemas.microsoft.com/office/drawing/2014/main" id="{954685BD-9540-3049-87BB-AB628EE6C699}"/>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60" name="TextBox 59">
              <a:extLst>
                <a:ext uri="{FF2B5EF4-FFF2-40B4-BE49-F238E27FC236}">
                  <a16:creationId xmlns:a16="http://schemas.microsoft.com/office/drawing/2014/main" id="{0B8DA9FC-8867-C64D-B28B-688F516DE887}"/>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62" name="Прямоугольник 61">
            <a:extLst>
              <a:ext uri="{FF2B5EF4-FFF2-40B4-BE49-F238E27FC236}">
                <a16:creationId xmlns:a16="http://schemas.microsoft.com/office/drawing/2014/main" id="{39075473-F00A-FF42-B0C0-45862F7097D9}"/>
              </a:ext>
            </a:extLst>
          </p:cNvPr>
          <p:cNvSpPr/>
          <p:nvPr userDrawn="1"/>
        </p:nvSpPr>
        <p:spPr>
          <a:xfrm>
            <a:off x="0" y="313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3" name="TextBox 62">
            <a:extLst>
              <a:ext uri="{FF2B5EF4-FFF2-40B4-BE49-F238E27FC236}">
                <a16:creationId xmlns:a16="http://schemas.microsoft.com/office/drawing/2014/main" id="{6BF8BFF8-9986-BE4C-A231-D8A3CA679EF2}"/>
              </a:ext>
            </a:extLst>
          </p:cNvPr>
          <p:cNvSpPr txBox="1"/>
          <p:nvPr userDrawn="1"/>
        </p:nvSpPr>
        <p:spPr>
          <a:xfrm>
            <a:off x="604489" y="32325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64" name="Рисунок 63">
            <a:extLst>
              <a:ext uri="{FF2B5EF4-FFF2-40B4-BE49-F238E27FC236}">
                <a16:creationId xmlns:a16="http://schemas.microsoft.com/office/drawing/2014/main" id="{D1C033A7-8A30-704B-A65F-A568397268F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3204000"/>
            <a:ext cx="288000" cy="288000"/>
          </a:xfrm>
          <a:prstGeom prst="rect">
            <a:avLst/>
          </a:prstGeom>
        </p:spPr>
      </p:pic>
      <p:sp>
        <p:nvSpPr>
          <p:cNvPr id="65" name="Прямоугольник 64">
            <a:extLst>
              <a:ext uri="{FF2B5EF4-FFF2-40B4-BE49-F238E27FC236}">
                <a16:creationId xmlns:a16="http://schemas.microsoft.com/office/drawing/2014/main" id="{6869E661-3207-6F43-A317-C35107195BF0}"/>
              </a:ext>
            </a:extLst>
          </p:cNvPr>
          <p:cNvSpPr/>
          <p:nvPr userDrawn="1"/>
        </p:nvSpPr>
        <p:spPr>
          <a:xfrm>
            <a:off x="0" y="270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 name="TextBox 65">
            <a:extLst>
              <a:ext uri="{FF2B5EF4-FFF2-40B4-BE49-F238E27FC236}">
                <a16:creationId xmlns:a16="http://schemas.microsoft.com/office/drawing/2014/main" id="{185D85F9-4991-4D45-9BEF-35AF3B113B01}"/>
              </a:ext>
            </a:extLst>
          </p:cNvPr>
          <p:cNvSpPr txBox="1"/>
          <p:nvPr userDrawn="1"/>
        </p:nvSpPr>
        <p:spPr>
          <a:xfrm>
            <a:off x="604489" y="28005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67" name="Рисунок 66">
            <a:extLst>
              <a:ext uri="{FF2B5EF4-FFF2-40B4-BE49-F238E27FC236}">
                <a16:creationId xmlns:a16="http://schemas.microsoft.com/office/drawing/2014/main" id="{F711F24C-721B-6E4E-8017-877B24D3F82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9271" y="2772000"/>
            <a:ext cx="288000" cy="288000"/>
          </a:xfrm>
          <a:prstGeom prst="rect">
            <a:avLst/>
          </a:prstGeom>
        </p:spPr>
      </p:pic>
      <p:sp>
        <p:nvSpPr>
          <p:cNvPr id="68" name="Прямоугольник 67">
            <a:extLst>
              <a:ext uri="{FF2B5EF4-FFF2-40B4-BE49-F238E27FC236}">
                <a16:creationId xmlns:a16="http://schemas.microsoft.com/office/drawing/2014/main" id="{04D1E3E9-74AB-6A49-8069-38515D5FCFE1}"/>
              </a:ext>
            </a:extLst>
          </p:cNvPr>
          <p:cNvSpPr/>
          <p:nvPr userDrawn="1"/>
        </p:nvSpPr>
        <p:spPr>
          <a:xfrm>
            <a:off x="0" y="226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 name="TextBox 68">
            <a:extLst>
              <a:ext uri="{FF2B5EF4-FFF2-40B4-BE49-F238E27FC236}">
                <a16:creationId xmlns:a16="http://schemas.microsoft.com/office/drawing/2014/main" id="{7610C761-9C2A-C14F-8C1E-2C2EC9CCB27A}"/>
              </a:ext>
            </a:extLst>
          </p:cNvPr>
          <p:cNvSpPr txBox="1"/>
          <p:nvPr userDrawn="1"/>
        </p:nvSpPr>
        <p:spPr>
          <a:xfrm>
            <a:off x="604489" y="22993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70" name="Рисунок 69">
            <a:extLst>
              <a:ext uri="{FF2B5EF4-FFF2-40B4-BE49-F238E27FC236}">
                <a16:creationId xmlns:a16="http://schemas.microsoft.com/office/drawing/2014/main" id="{F1C418CF-E54B-894E-9364-5EAF041BE069}"/>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69271" y="2340000"/>
            <a:ext cx="288000" cy="288000"/>
          </a:xfrm>
          <a:prstGeom prst="rect">
            <a:avLst/>
          </a:prstGeom>
        </p:spPr>
      </p:pic>
      <p:sp>
        <p:nvSpPr>
          <p:cNvPr id="74" name="Прямоугольник 73">
            <a:extLst>
              <a:ext uri="{FF2B5EF4-FFF2-40B4-BE49-F238E27FC236}">
                <a16:creationId xmlns:a16="http://schemas.microsoft.com/office/drawing/2014/main" id="{A47472AD-F631-0144-8534-5C2830DACDA9}"/>
              </a:ext>
            </a:extLst>
          </p:cNvPr>
          <p:cNvSpPr/>
          <p:nvPr userDrawn="1"/>
        </p:nvSpPr>
        <p:spPr>
          <a:xfrm>
            <a:off x="0" y="442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 name="TextBox 74">
            <a:extLst>
              <a:ext uri="{FF2B5EF4-FFF2-40B4-BE49-F238E27FC236}">
                <a16:creationId xmlns:a16="http://schemas.microsoft.com/office/drawing/2014/main" id="{A0CA46DF-2246-3145-962D-2628F60DA537}"/>
              </a:ext>
            </a:extLst>
          </p:cNvPr>
          <p:cNvSpPr txBox="1"/>
          <p:nvPr userDrawn="1"/>
        </p:nvSpPr>
        <p:spPr>
          <a:xfrm>
            <a:off x="604489" y="45285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76" name="Рисунок 75">
            <a:extLst>
              <a:ext uri="{FF2B5EF4-FFF2-40B4-BE49-F238E27FC236}">
                <a16:creationId xmlns:a16="http://schemas.microsoft.com/office/drawing/2014/main" id="{5E078F42-0017-8B45-BCC0-DD8E369F881C}"/>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69271" y="4500000"/>
            <a:ext cx="288000" cy="288000"/>
          </a:xfrm>
          <a:prstGeom prst="rect">
            <a:avLst/>
          </a:prstGeom>
        </p:spPr>
      </p:pic>
      <p:sp>
        <p:nvSpPr>
          <p:cNvPr id="77" name="Прямоугольник 76">
            <a:extLst>
              <a:ext uri="{FF2B5EF4-FFF2-40B4-BE49-F238E27FC236}">
                <a16:creationId xmlns:a16="http://schemas.microsoft.com/office/drawing/2014/main" id="{36E9A61B-B187-A14D-A693-78F7E2EB394D}"/>
              </a:ext>
            </a:extLst>
          </p:cNvPr>
          <p:cNvSpPr/>
          <p:nvPr userDrawn="1"/>
        </p:nvSpPr>
        <p:spPr>
          <a:xfrm>
            <a:off x="0" y="356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 name="TextBox 77">
            <a:extLst>
              <a:ext uri="{FF2B5EF4-FFF2-40B4-BE49-F238E27FC236}">
                <a16:creationId xmlns:a16="http://schemas.microsoft.com/office/drawing/2014/main" id="{B9D67A45-79CC-D749-9964-C4D551F6B394}"/>
              </a:ext>
            </a:extLst>
          </p:cNvPr>
          <p:cNvSpPr txBox="1"/>
          <p:nvPr userDrawn="1"/>
        </p:nvSpPr>
        <p:spPr>
          <a:xfrm>
            <a:off x="604489" y="36645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79" name="Рисунок 78">
            <a:extLst>
              <a:ext uri="{FF2B5EF4-FFF2-40B4-BE49-F238E27FC236}">
                <a16:creationId xmlns:a16="http://schemas.microsoft.com/office/drawing/2014/main" id="{30C183C9-FAE9-F34A-B80C-8818DA5C9EFB}"/>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69271" y="3636000"/>
            <a:ext cx="288000" cy="288000"/>
          </a:xfrm>
          <a:prstGeom prst="rect">
            <a:avLst/>
          </a:prstGeom>
        </p:spPr>
      </p:pic>
      <p:sp>
        <p:nvSpPr>
          <p:cNvPr id="80" name="Прямоугольник 79">
            <a:extLst>
              <a:ext uri="{FF2B5EF4-FFF2-40B4-BE49-F238E27FC236}">
                <a16:creationId xmlns:a16="http://schemas.microsoft.com/office/drawing/2014/main" id="{9DD89A2C-3F8A-7D4F-825F-8C578F62AD92}"/>
              </a:ext>
            </a:extLst>
          </p:cNvPr>
          <p:cNvSpPr/>
          <p:nvPr userDrawn="1"/>
        </p:nvSpPr>
        <p:spPr>
          <a:xfrm>
            <a:off x="0" y="399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 name="TextBox 80">
            <a:extLst>
              <a:ext uri="{FF2B5EF4-FFF2-40B4-BE49-F238E27FC236}">
                <a16:creationId xmlns:a16="http://schemas.microsoft.com/office/drawing/2014/main" id="{620E374E-CBBE-1846-8AA7-498BF4F52ED1}"/>
              </a:ext>
            </a:extLst>
          </p:cNvPr>
          <p:cNvSpPr txBox="1"/>
          <p:nvPr userDrawn="1"/>
        </p:nvSpPr>
        <p:spPr>
          <a:xfrm>
            <a:off x="604489" y="40965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82" name="Рисунок 81">
            <a:extLst>
              <a:ext uri="{FF2B5EF4-FFF2-40B4-BE49-F238E27FC236}">
                <a16:creationId xmlns:a16="http://schemas.microsoft.com/office/drawing/2014/main" id="{92838A78-C6F2-4D4D-8400-2E19C0A26E36}"/>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69271" y="4068000"/>
            <a:ext cx="288000" cy="288000"/>
          </a:xfrm>
          <a:prstGeom prst="rect">
            <a:avLst/>
          </a:prstGeom>
        </p:spPr>
      </p:pic>
      <p:sp>
        <p:nvSpPr>
          <p:cNvPr id="83" name="Прямоугольник 82">
            <a:extLst>
              <a:ext uri="{FF2B5EF4-FFF2-40B4-BE49-F238E27FC236}">
                <a16:creationId xmlns:a16="http://schemas.microsoft.com/office/drawing/2014/main" id="{1D9C07CD-2B19-1B4D-BFFA-0B10AE0E72F7}"/>
              </a:ext>
            </a:extLst>
          </p:cNvPr>
          <p:cNvSpPr/>
          <p:nvPr userDrawn="1"/>
        </p:nvSpPr>
        <p:spPr>
          <a:xfrm>
            <a:off x="0" y="97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 name="TextBox 83">
            <a:extLst>
              <a:ext uri="{FF2B5EF4-FFF2-40B4-BE49-F238E27FC236}">
                <a16:creationId xmlns:a16="http://schemas.microsoft.com/office/drawing/2014/main" id="{D2BFBB58-C2B2-5D46-84C0-028DFBFA9B2E}"/>
              </a:ext>
            </a:extLst>
          </p:cNvPr>
          <p:cNvSpPr txBox="1"/>
          <p:nvPr userDrawn="1"/>
        </p:nvSpPr>
        <p:spPr>
          <a:xfrm>
            <a:off x="604489" y="10725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85" name="Рисунок 84">
            <a:extLst>
              <a:ext uri="{FF2B5EF4-FFF2-40B4-BE49-F238E27FC236}">
                <a16:creationId xmlns:a16="http://schemas.microsoft.com/office/drawing/2014/main" id="{71D26728-1112-9449-81D9-BBFD8D69B13B}"/>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69271" y="1044000"/>
            <a:ext cx="288000" cy="288000"/>
          </a:xfrm>
          <a:prstGeom prst="rect">
            <a:avLst/>
          </a:prstGeom>
        </p:spPr>
      </p:pic>
      <p:sp>
        <p:nvSpPr>
          <p:cNvPr id="86" name="Прямоугольник 85">
            <a:extLst>
              <a:ext uri="{FF2B5EF4-FFF2-40B4-BE49-F238E27FC236}">
                <a16:creationId xmlns:a16="http://schemas.microsoft.com/office/drawing/2014/main" id="{19D60F62-6CF6-B546-9629-9F4F733156BF}"/>
              </a:ext>
            </a:extLst>
          </p:cNvPr>
          <p:cNvSpPr/>
          <p:nvPr userDrawn="1"/>
        </p:nvSpPr>
        <p:spPr>
          <a:xfrm>
            <a:off x="0" y="486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 name="TextBox 86">
            <a:extLst>
              <a:ext uri="{FF2B5EF4-FFF2-40B4-BE49-F238E27FC236}">
                <a16:creationId xmlns:a16="http://schemas.microsoft.com/office/drawing/2014/main" id="{70D6A0F0-7206-3E4A-86D5-BD616B54C5FD}"/>
              </a:ext>
            </a:extLst>
          </p:cNvPr>
          <p:cNvSpPr txBox="1"/>
          <p:nvPr userDrawn="1"/>
        </p:nvSpPr>
        <p:spPr>
          <a:xfrm>
            <a:off x="604489" y="49605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88" name="Рисунок 87">
            <a:extLst>
              <a:ext uri="{FF2B5EF4-FFF2-40B4-BE49-F238E27FC236}">
                <a16:creationId xmlns:a16="http://schemas.microsoft.com/office/drawing/2014/main" id="{E6DA6343-0DC7-5D4A-AB7F-1C518D92623C}"/>
              </a:ext>
            </a:extLst>
          </p:cNvPr>
          <p:cNvPicPr>
            <a:picLocks noChangeAspect="1"/>
          </p:cNvPicPr>
          <p:nvPr userDrawn="1"/>
        </p:nvPicPr>
        <p:blipFill>
          <a:blip r:embed="rId9" cstate="hqprint">
            <a:extLst>
              <a:ext uri="{28A0092B-C50C-407E-A947-70E740481C1C}">
                <a14:useLocalDpi xmlns:a14="http://schemas.microsoft.com/office/drawing/2010/main" val="0"/>
              </a:ext>
            </a:extLst>
          </a:blip>
          <a:stretch>
            <a:fillRect/>
          </a:stretch>
        </p:blipFill>
        <p:spPr>
          <a:xfrm>
            <a:off x="169271" y="4932000"/>
            <a:ext cx="288000" cy="288000"/>
          </a:xfrm>
          <a:prstGeom prst="rect">
            <a:avLst/>
          </a:prstGeom>
        </p:spPr>
      </p:pic>
      <p:sp>
        <p:nvSpPr>
          <p:cNvPr id="89" name="Прямоугольник 88">
            <a:extLst>
              <a:ext uri="{FF2B5EF4-FFF2-40B4-BE49-F238E27FC236}">
                <a16:creationId xmlns:a16="http://schemas.microsoft.com/office/drawing/2014/main" id="{39225957-E776-AC42-A99C-708454306C05}"/>
              </a:ext>
            </a:extLst>
          </p:cNvPr>
          <p:cNvSpPr/>
          <p:nvPr userDrawn="1"/>
        </p:nvSpPr>
        <p:spPr>
          <a:xfrm>
            <a:off x="0" y="140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1" name="TextBox 100">
            <a:extLst>
              <a:ext uri="{FF2B5EF4-FFF2-40B4-BE49-F238E27FC236}">
                <a16:creationId xmlns:a16="http://schemas.microsoft.com/office/drawing/2014/main" id="{81D014D7-04E5-E445-96B3-09DD9D2E7EFD}"/>
              </a:ext>
            </a:extLst>
          </p:cNvPr>
          <p:cNvSpPr txBox="1"/>
          <p:nvPr userDrawn="1"/>
        </p:nvSpPr>
        <p:spPr>
          <a:xfrm>
            <a:off x="604489" y="15045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102" name="Рисунок 101">
            <a:extLst>
              <a:ext uri="{FF2B5EF4-FFF2-40B4-BE49-F238E27FC236}">
                <a16:creationId xmlns:a16="http://schemas.microsoft.com/office/drawing/2014/main" id="{8B5AD4A3-1F8B-AE4B-A31B-5A8C1EE8830C}"/>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69270" y="1476000"/>
            <a:ext cx="288000" cy="288000"/>
          </a:xfrm>
          <a:prstGeom prst="rect">
            <a:avLst/>
          </a:prstGeom>
        </p:spPr>
      </p:pic>
      <p:sp>
        <p:nvSpPr>
          <p:cNvPr id="103" name="Прямоугольник 102">
            <a:extLst>
              <a:ext uri="{FF2B5EF4-FFF2-40B4-BE49-F238E27FC236}">
                <a16:creationId xmlns:a16="http://schemas.microsoft.com/office/drawing/2014/main" id="{DFB000EB-6D46-AF4F-9536-1A21846F805C}"/>
              </a:ext>
            </a:extLst>
          </p:cNvPr>
          <p:cNvSpPr/>
          <p:nvPr userDrawn="1"/>
        </p:nvSpPr>
        <p:spPr>
          <a:xfrm>
            <a:off x="0" y="529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4" name="TextBox 103">
            <a:extLst>
              <a:ext uri="{FF2B5EF4-FFF2-40B4-BE49-F238E27FC236}">
                <a16:creationId xmlns:a16="http://schemas.microsoft.com/office/drawing/2014/main" id="{515A4E5F-AF81-E84C-8E74-EF8FFBFB1660}"/>
              </a:ext>
            </a:extLst>
          </p:cNvPr>
          <p:cNvSpPr txBox="1"/>
          <p:nvPr userDrawn="1"/>
        </p:nvSpPr>
        <p:spPr>
          <a:xfrm>
            <a:off x="604489" y="53925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105" name="Рисунок 104">
            <a:extLst>
              <a:ext uri="{FF2B5EF4-FFF2-40B4-BE49-F238E27FC236}">
                <a16:creationId xmlns:a16="http://schemas.microsoft.com/office/drawing/2014/main" id="{57D5B978-0ED8-3748-994A-D1F7369AF9F9}"/>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69270" y="5364000"/>
            <a:ext cx="288000" cy="288000"/>
          </a:xfrm>
          <a:prstGeom prst="rect">
            <a:avLst/>
          </a:prstGeom>
        </p:spPr>
      </p:pic>
      <p:sp>
        <p:nvSpPr>
          <p:cNvPr id="108" name="Прямоугольник 107">
            <a:extLst>
              <a:ext uri="{FF2B5EF4-FFF2-40B4-BE49-F238E27FC236}">
                <a16:creationId xmlns:a16="http://schemas.microsoft.com/office/drawing/2014/main" id="{00983BB8-1A88-084D-9589-21D03DC769EE}"/>
              </a:ext>
            </a:extLst>
          </p:cNvPr>
          <p:cNvSpPr/>
          <p:nvPr userDrawn="1"/>
        </p:nvSpPr>
        <p:spPr>
          <a:xfrm>
            <a:off x="0" y="54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9" name="TextBox 108">
            <a:extLst>
              <a:ext uri="{FF2B5EF4-FFF2-40B4-BE49-F238E27FC236}">
                <a16:creationId xmlns:a16="http://schemas.microsoft.com/office/drawing/2014/main" id="{A41A5CB8-70EF-694C-A175-E5B1A81D4E11}"/>
              </a:ext>
            </a:extLst>
          </p:cNvPr>
          <p:cNvSpPr txBox="1"/>
          <p:nvPr userDrawn="1"/>
        </p:nvSpPr>
        <p:spPr>
          <a:xfrm>
            <a:off x="604489" y="6405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110" name="Рисунок 109">
            <a:extLst>
              <a:ext uri="{FF2B5EF4-FFF2-40B4-BE49-F238E27FC236}">
                <a16:creationId xmlns:a16="http://schemas.microsoft.com/office/drawing/2014/main" id="{FA3ADB7C-35FF-B94B-95AD-BEE6D409E2A3}"/>
              </a:ext>
            </a:extLst>
          </p:cNvPr>
          <p:cNvPicPr>
            <a:picLocks noChangeAspect="1"/>
          </p:cNvPicPr>
          <p:nvPr userDrawn="1"/>
        </p:nvPicPr>
        <p:blipFill>
          <a:blip r:embed="rId12" cstate="hqprint">
            <a:extLst>
              <a:ext uri="{28A0092B-C50C-407E-A947-70E740481C1C}">
                <a14:useLocalDpi xmlns:a14="http://schemas.microsoft.com/office/drawing/2010/main" val="0"/>
              </a:ext>
            </a:extLst>
          </a:blip>
          <a:stretch>
            <a:fillRect/>
          </a:stretch>
        </p:blipFill>
        <p:spPr>
          <a:xfrm>
            <a:off x="169271" y="612000"/>
            <a:ext cx="288000" cy="288000"/>
          </a:xfrm>
          <a:prstGeom prst="rect">
            <a:avLst/>
          </a:prstGeom>
        </p:spPr>
      </p:pic>
      <p:sp>
        <p:nvSpPr>
          <p:cNvPr id="112" name="Прямоугольник 111">
            <a:extLst>
              <a:ext uri="{FF2B5EF4-FFF2-40B4-BE49-F238E27FC236}">
                <a16:creationId xmlns:a16="http://schemas.microsoft.com/office/drawing/2014/main" id="{97E4D32C-767C-DB4E-8167-0DF2BCD81FDF}"/>
              </a:ext>
            </a:extLst>
          </p:cNvPr>
          <p:cNvSpPr/>
          <p:nvPr userDrawn="1"/>
        </p:nvSpPr>
        <p:spPr>
          <a:xfrm>
            <a:off x="0" y="572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3" name="TextBox 112">
            <a:extLst>
              <a:ext uri="{FF2B5EF4-FFF2-40B4-BE49-F238E27FC236}">
                <a16:creationId xmlns:a16="http://schemas.microsoft.com/office/drawing/2014/main" id="{5A099F52-94B5-E64D-AAB9-50E0A6CA01EE}"/>
              </a:ext>
            </a:extLst>
          </p:cNvPr>
          <p:cNvSpPr txBox="1"/>
          <p:nvPr userDrawn="1"/>
        </p:nvSpPr>
        <p:spPr>
          <a:xfrm>
            <a:off x="604489" y="58245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114" name="Рисунок 113">
            <a:extLst>
              <a:ext uri="{FF2B5EF4-FFF2-40B4-BE49-F238E27FC236}">
                <a16:creationId xmlns:a16="http://schemas.microsoft.com/office/drawing/2014/main" id="{46F635AD-D716-8C48-9D78-83E26C165F12}"/>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69271" y="5796000"/>
            <a:ext cx="288000" cy="288000"/>
          </a:xfrm>
          <a:prstGeom prst="rect">
            <a:avLst/>
          </a:prstGeom>
        </p:spPr>
      </p:pic>
      <p:sp>
        <p:nvSpPr>
          <p:cNvPr id="115" name="Прямоугольник 114">
            <a:extLst>
              <a:ext uri="{FF2B5EF4-FFF2-40B4-BE49-F238E27FC236}">
                <a16:creationId xmlns:a16="http://schemas.microsoft.com/office/drawing/2014/main" id="{D7434F03-FCED-0949-8985-C24ACEDB9C69}"/>
              </a:ext>
            </a:extLst>
          </p:cNvPr>
          <p:cNvSpPr/>
          <p:nvPr userDrawn="1"/>
        </p:nvSpPr>
        <p:spPr>
          <a:xfrm>
            <a:off x="0" y="615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6" name="TextBox 115">
            <a:extLst>
              <a:ext uri="{FF2B5EF4-FFF2-40B4-BE49-F238E27FC236}">
                <a16:creationId xmlns:a16="http://schemas.microsoft.com/office/drawing/2014/main" id="{1FB97586-DF4B-A646-B2FE-30050AC45513}"/>
              </a:ext>
            </a:extLst>
          </p:cNvPr>
          <p:cNvSpPr txBox="1"/>
          <p:nvPr userDrawn="1"/>
        </p:nvSpPr>
        <p:spPr>
          <a:xfrm>
            <a:off x="604489" y="62565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117" name="Рисунок 116">
            <a:extLst>
              <a:ext uri="{FF2B5EF4-FFF2-40B4-BE49-F238E27FC236}">
                <a16:creationId xmlns:a16="http://schemas.microsoft.com/office/drawing/2014/main" id="{540A3E7E-4857-3248-9BF6-397BC210D6D7}"/>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6228000"/>
            <a:ext cx="288000" cy="288000"/>
          </a:xfrm>
          <a:prstGeom prst="rect">
            <a:avLst/>
          </a:prstGeom>
        </p:spPr>
      </p:pic>
      <p:sp>
        <p:nvSpPr>
          <p:cNvPr id="128" name="Прямоугольник 127">
            <a:extLst>
              <a:ext uri="{FF2B5EF4-FFF2-40B4-BE49-F238E27FC236}">
                <a16:creationId xmlns:a16="http://schemas.microsoft.com/office/drawing/2014/main" id="{9B2F3EEE-F99F-5041-B9CA-29B70B786862}"/>
              </a:ext>
            </a:extLst>
          </p:cNvPr>
          <p:cNvSpPr/>
          <p:nvPr userDrawn="1"/>
        </p:nvSpPr>
        <p:spPr>
          <a:xfrm>
            <a:off x="0" y="18360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9" name="TextBox 128">
            <a:extLst>
              <a:ext uri="{FF2B5EF4-FFF2-40B4-BE49-F238E27FC236}">
                <a16:creationId xmlns:a16="http://schemas.microsoft.com/office/drawing/2014/main" id="{82411F23-258C-AC49-9F1B-12CA96E37D44}"/>
              </a:ext>
            </a:extLst>
          </p:cNvPr>
          <p:cNvSpPr txBox="1"/>
          <p:nvPr userDrawn="1"/>
        </p:nvSpPr>
        <p:spPr>
          <a:xfrm>
            <a:off x="604489" y="1867334"/>
            <a:ext cx="1439290" cy="369332"/>
          </a:xfrm>
          <a:prstGeom prst="rect">
            <a:avLst/>
          </a:prstGeom>
          <a:noFill/>
        </p:spPr>
        <p:txBody>
          <a:bodyPr wrap="square" rtlCol="0" anchor="ctr">
            <a:spAutoFit/>
          </a:bodyPr>
          <a:lstStyle/>
          <a:p>
            <a:r>
              <a:rPr lang="ru-RU" sz="900" b="1" dirty="0">
                <a:solidFill>
                  <a:schemeClr val="bg1"/>
                </a:solidFill>
              </a:rPr>
              <a:t>Портфельный риск-менеджмент</a:t>
            </a:r>
          </a:p>
        </p:txBody>
      </p:sp>
      <p:pic>
        <p:nvPicPr>
          <p:cNvPr id="130" name="Рисунок 129">
            <a:extLst>
              <a:ext uri="{FF2B5EF4-FFF2-40B4-BE49-F238E27FC236}">
                <a16:creationId xmlns:a16="http://schemas.microsoft.com/office/drawing/2014/main" id="{0F7A0598-4D09-C449-AB3C-83E51EDA7823}"/>
              </a:ext>
            </a:extLst>
          </p:cNvPr>
          <p:cNvPicPr>
            <a:picLocks noChangeAspect="1"/>
          </p:cNvPicPr>
          <p:nvPr userDrawn="1"/>
        </p:nvPicPr>
        <p:blipFill>
          <a:blip r:embed="rId15" cstate="hqprint">
            <a:extLst>
              <a:ext uri="{28A0092B-C50C-407E-A947-70E740481C1C}">
                <a14:useLocalDpi xmlns:a14="http://schemas.microsoft.com/office/drawing/2010/main" val="0"/>
              </a:ext>
            </a:extLst>
          </a:blip>
          <a:stretch>
            <a:fillRect/>
          </a:stretch>
        </p:blipFill>
        <p:spPr>
          <a:xfrm>
            <a:off x="171523" y="1908000"/>
            <a:ext cx="288000" cy="288000"/>
          </a:xfrm>
          <a:prstGeom prst="rect">
            <a:avLst/>
          </a:prstGeom>
        </p:spPr>
      </p:pic>
      <p:sp>
        <p:nvSpPr>
          <p:cNvPr id="53" name="Прямоугольник 52">
            <a:extLst>
              <a:ext uri="{FF2B5EF4-FFF2-40B4-BE49-F238E27FC236}">
                <a16:creationId xmlns:a16="http://schemas.microsoft.com/office/drawing/2014/main" id="{DFCB072C-B873-F54E-9C99-0E5D7FA1CEFA}"/>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4" name="Рисунок 53">
            <a:extLst>
              <a:ext uri="{FF2B5EF4-FFF2-40B4-BE49-F238E27FC236}">
                <a16:creationId xmlns:a16="http://schemas.microsoft.com/office/drawing/2014/main" id="{2A5EE6B1-40FB-424E-A773-1078BBF93B87}"/>
              </a:ext>
            </a:extLst>
          </p:cNvPr>
          <p:cNvPicPr>
            <a:picLocks noChangeAspect="1"/>
          </p:cNvPicPr>
          <p:nvPr userDrawn="1"/>
        </p:nvPicPr>
        <p:blipFill rotWithShape="1">
          <a:blip r:embed="rId16"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pic>
        <p:nvPicPr>
          <p:cNvPr id="4" name="Рисунок 3"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2" name="Рисунок 1"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spTree>
    <p:extLst>
      <p:ext uri="{BB962C8B-B14F-4D97-AF65-F5344CB8AC3E}">
        <p14:creationId xmlns:p14="http://schemas.microsoft.com/office/powerpoint/2010/main" val="349580083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5_Страновой, залоги, групповая методология">
    <p:spTree>
      <p:nvGrpSpPr>
        <p:cNvPr id="1" name=""/>
        <p:cNvGrpSpPr/>
        <p:nvPr/>
      </p:nvGrpSpPr>
      <p:grpSpPr>
        <a:xfrm>
          <a:off x="0" y="0"/>
          <a:ext cx="0" cy="0"/>
          <a:chOff x="0" y="0"/>
          <a:chExt cx="0" cy="0"/>
        </a:xfrm>
      </p:grpSpPr>
      <p:sp>
        <p:nvSpPr>
          <p:cNvPr id="37" name="Прямоугольник 36">
            <a:extLst>
              <a:ext uri="{FF2B5EF4-FFF2-40B4-BE49-F238E27FC236}">
                <a16:creationId xmlns:a16="http://schemas.microsoft.com/office/drawing/2014/main" id="{3807C4EF-6726-D84F-B42D-20B02D62A823}"/>
              </a:ext>
            </a:extLst>
          </p:cNvPr>
          <p:cNvSpPr/>
          <p:nvPr userDrawn="1"/>
        </p:nvSpPr>
        <p:spPr>
          <a:xfrm>
            <a:off x="2135560" y="1"/>
            <a:ext cx="1006719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Title 1">
            <a:extLst>
              <a:ext uri="{FF2B5EF4-FFF2-40B4-BE49-F238E27FC236}">
                <a16:creationId xmlns:a16="http://schemas.microsoft.com/office/drawing/2014/main" id="{3A9C5A4E-FDDF-2147-84D1-B4F34142A8A5}"/>
              </a:ext>
            </a:extLst>
          </p:cNvPr>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0" name="TextBox 89">
            <a:extLst>
              <a:ext uri="{FF2B5EF4-FFF2-40B4-BE49-F238E27FC236}">
                <a16:creationId xmlns:a16="http://schemas.microsoft.com/office/drawing/2014/main" id="{63ED4D20-E30A-2C47-83A6-1D299E95BD30}"/>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grpSp>
        <p:nvGrpSpPr>
          <p:cNvPr id="57" name="Группа 56">
            <a:extLst>
              <a:ext uri="{FF2B5EF4-FFF2-40B4-BE49-F238E27FC236}">
                <a16:creationId xmlns:a16="http://schemas.microsoft.com/office/drawing/2014/main" id="{A5889E63-13E4-8740-BA96-1233984F0218}"/>
              </a:ext>
            </a:extLst>
          </p:cNvPr>
          <p:cNvGrpSpPr/>
          <p:nvPr userDrawn="1"/>
        </p:nvGrpSpPr>
        <p:grpSpPr>
          <a:xfrm>
            <a:off x="0" y="-7200"/>
            <a:ext cx="2148770" cy="553998"/>
            <a:chOff x="0" y="11193"/>
            <a:chExt cx="2148770" cy="553998"/>
          </a:xfrm>
        </p:grpSpPr>
        <p:sp>
          <p:nvSpPr>
            <p:cNvPr id="58" name="Прямоугольник 57">
              <a:extLst>
                <a:ext uri="{FF2B5EF4-FFF2-40B4-BE49-F238E27FC236}">
                  <a16:creationId xmlns:a16="http://schemas.microsoft.com/office/drawing/2014/main" id="{8E531D1F-D312-4942-9B08-86823E3BABAC}"/>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 name="TextBox 58">
              <a:extLst>
                <a:ext uri="{FF2B5EF4-FFF2-40B4-BE49-F238E27FC236}">
                  <a16:creationId xmlns:a16="http://schemas.microsoft.com/office/drawing/2014/main" id="{530FF116-3347-B847-BAE1-E870BC16F47D}"/>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60" name="TextBox 59">
              <a:extLst>
                <a:ext uri="{FF2B5EF4-FFF2-40B4-BE49-F238E27FC236}">
                  <a16:creationId xmlns:a16="http://schemas.microsoft.com/office/drawing/2014/main" id="{6ADCA98F-A92D-C041-9768-7175B0664835}"/>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62" name="Прямоугольник 61">
            <a:extLst>
              <a:ext uri="{FF2B5EF4-FFF2-40B4-BE49-F238E27FC236}">
                <a16:creationId xmlns:a16="http://schemas.microsoft.com/office/drawing/2014/main" id="{A9B76353-335B-644C-B349-BDD784081C35}"/>
              </a:ext>
            </a:extLst>
          </p:cNvPr>
          <p:cNvSpPr/>
          <p:nvPr userDrawn="1"/>
        </p:nvSpPr>
        <p:spPr>
          <a:xfrm>
            <a:off x="0" y="313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3" name="TextBox 62">
            <a:extLst>
              <a:ext uri="{FF2B5EF4-FFF2-40B4-BE49-F238E27FC236}">
                <a16:creationId xmlns:a16="http://schemas.microsoft.com/office/drawing/2014/main" id="{C82875D3-4536-8F4D-AFA6-3E75FF2BC326}"/>
              </a:ext>
            </a:extLst>
          </p:cNvPr>
          <p:cNvSpPr txBox="1"/>
          <p:nvPr userDrawn="1"/>
        </p:nvSpPr>
        <p:spPr>
          <a:xfrm>
            <a:off x="604489" y="32325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64" name="Рисунок 63">
            <a:extLst>
              <a:ext uri="{FF2B5EF4-FFF2-40B4-BE49-F238E27FC236}">
                <a16:creationId xmlns:a16="http://schemas.microsoft.com/office/drawing/2014/main" id="{CC157F77-3FDE-8C46-81D9-1C85BB28477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3204000"/>
            <a:ext cx="288000" cy="288000"/>
          </a:xfrm>
          <a:prstGeom prst="rect">
            <a:avLst/>
          </a:prstGeom>
        </p:spPr>
      </p:pic>
      <p:sp>
        <p:nvSpPr>
          <p:cNvPr id="65" name="Прямоугольник 64">
            <a:extLst>
              <a:ext uri="{FF2B5EF4-FFF2-40B4-BE49-F238E27FC236}">
                <a16:creationId xmlns:a16="http://schemas.microsoft.com/office/drawing/2014/main" id="{C2EAB52D-FA92-2146-AACC-F4178B8044B1}"/>
              </a:ext>
            </a:extLst>
          </p:cNvPr>
          <p:cNvSpPr/>
          <p:nvPr userDrawn="1"/>
        </p:nvSpPr>
        <p:spPr>
          <a:xfrm>
            <a:off x="0" y="270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 name="TextBox 65">
            <a:extLst>
              <a:ext uri="{FF2B5EF4-FFF2-40B4-BE49-F238E27FC236}">
                <a16:creationId xmlns:a16="http://schemas.microsoft.com/office/drawing/2014/main" id="{9C755012-9877-5D46-BFC9-E37D6AB777FB}"/>
              </a:ext>
            </a:extLst>
          </p:cNvPr>
          <p:cNvSpPr txBox="1"/>
          <p:nvPr userDrawn="1"/>
        </p:nvSpPr>
        <p:spPr>
          <a:xfrm>
            <a:off x="604489" y="28005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67" name="Рисунок 66">
            <a:extLst>
              <a:ext uri="{FF2B5EF4-FFF2-40B4-BE49-F238E27FC236}">
                <a16:creationId xmlns:a16="http://schemas.microsoft.com/office/drawing/2014/main" id="{757E7F78-AD10-8942-870D-EAF936469CF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9271" y="2772000"/>
            <a:ext cx="288000" cy="288000"/>
          </a:xfrm>
          <a:prstGeom prst="rect">
            <a:avLst/>
          </a:prstGeom>
        </p:spPr>
      </p:pic>
      <p:sp>
        <p:nvSpPr>
          <p:cNvPr id="71" name="Прямоугольник 70">
            <a:extLst>
              <a:ext uri="{FF2B5EF4-FFF2-40B4-BE49-F238E27FC236}">
                <a16:creationId xmlns:a16="http://schemas.microsoft.com/office/drawing/2014/main" id="{7CC65114-C1C7-4C49-A9DE-BA11BDEFC3FC}"/>
              </a:ext>
            </a:extLst>
          </p:cNvPr>
          <p:cNvSpPr/>
          <p:nvPr userDrawn="1"/>
        </p:nvSpPr>
        <p:spPr>
          <a:xfrm>
            <a:off x="0" y="183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 name="TextBox 71">
            <a:extLst>
              <a:ext uri="{FF2B5EF4-FFF2-40B4-BE49-F238E27FC236}">
                <a16:creationId xmlns:a16="http://schemas.microsoft.com/office/drawing/2014/main" id="{EA1167BA-5B39-5F44-95BA-DB2F16484651}"/>
              </a:ext>
            </a:extLst>
          </p:cNvPr>
          <p:cNvSpPr txBox="1"/>
          <p:nvPr userDrawn="1"/>
        </p:nvSpPr>
        <p:spPr>
          <a:xfrm>
            <a:off x="604489" y="18673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73" name="Рисунок 72">
            <a:extLst>
              <a:ext uri="{FF2B5EF4-FFF2-40B4-BE49-F238E27FC236}">
                <a16:creationId xmlns:a16="http://schemas.microsoft.com/office/drawing/2014/main" id="{E839270E-D05B-0B4C-B4DA-B51E730F2828}"/>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69271" y="1908000"/>
            <a:ext cx="288000" cy="288000"/>
          </a:xfrm>
          <a:prstGeom prst="rect">
            <a:avLst/>
          </a:prstGeom>
        </p:spPr>
      </p:pic>
      <p:sp>
        <p:nvSpPr>
          <p:cNvPr id="74" name="Прямоугольник 73">
            <a:extLst>
              <a:ext uri="{FF2B5EF4-FFF2-40B4-BE49-F238E27FC236}">
                <a16:creationId xmlns:a16="http://schemas.microsoft.com/office/drawing/2014/main" id="{CB4499D8-9F0C-924A-9BBB-F8C7E10879E0}"/>
              </a:ext>
            </a:extLst>
          </p:cNvPr>
          <p:cNvSpPr/>
          <p:nvPr userDrawn="1"/>
        </p:nvSpPr>
        <p:spPr>
          <a:xfrm>
            <a:off x="0" y="442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 name="TextBox 74">
            <a:extLst>
              <a:ext uri="{FF2B5EF4-FFF2-40B4-BE49-F238E27FC236}">
                <a16:creationId xmlns:a16="http://schemas.microsoft.com/office/drawing/2014/main" id="{86D06AB7-7B0F-6140-857E-6AE1F2B6E266}"/>
              </a:ext>
            </a:extLst>
          </p:cNvPr>
          <p:cNvSpPr txBox="1"/>
          <p:nvPr userDrawn="1"/>
        </p:nvSpPr>
        <p:spPr>
          <a:xfrm>
            <a:off x="604489" y="45285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76" name="Рисунок 75">
            <a:extLst>
              <a:ext uri="{FF2B5EF4-FFF2-40B4-BE49-F238E27FC236}">
                <a16:creationId xmlns:a16="http://schemas.microsoft.com/office/drawing/2014/main" id="{125AC044-542C-344B-9C4E-D6B2D3BAF318}"/>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69271" y="4500000"/>
            <a:ext cx="288000" cy="288000"/>
          </a:xfrm>
          <a:prstGeom prst="rect">
            <a:avLst/>
          </a:prstGeom>
        </p:spPr>
      </p:pic>
      <p:sp>
        <p:nvSpPr>
          <p:cNvPr id="77" name="Прямоугольник 76">
            <a:extLst>
              <a:ext uri="{FF2B5EF4-FFF2-40B4-BE49-F238E27FC236}">
                <a16:creationId xmlns:a16="http://schemas.microsoft.com/office/drawing/2014/main" id="{B07AE368-14DA-F648-B727-E7336B987ADA}"/>
              </a:ext>
            </a:extLst>
          </p:cNvPr>
          <p:cNvSpPr/>
          <p:nvPr userDrawn="1"/>
        </p:nvSpPr>
        <p:spPr>
          <a:xfrm>
            <a:off x="0" y="356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 name="TextBox 77">
            <a:extLst>
              <a:ext uri="{FF2B5EF4-FFF2-40B4-BE49-F238E27FC236}">
                <a16:creationId xmlns:a16="http://schemas.microsoft.com/office/drawing/2014/main" id="{AB90E303-582F-DF4A-AA51-E086249454D0}"/>
              </a:ext>
            </a:extLst>
          </p:cNvPr>
          <p:cNvSpPr txBox="1"/>
          <p:nvPr userDrawn="1"/>
        </p:nvSpPr>
        <p:spPr>
          <a:xfrm>
            <a:off x="604489" y="36645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79" name="Рисунок 78">
            <a:extLst>
              <a:ext uri="{FF2B5EF4-FFF2-40B4-BE49-F238E27FC236}">
                <a16:creationId xmlns:a16="http://schemas.microsoft.com/office/drawing/2014/main" id="{5C239B0E-82F7-5B4F-A96A-95B7931825ED}"/>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69271" y="3636000"/>
            <a:ext cx="288000" cy="288000"/>
          </a:xfrm>
          <a:prstGeom prst="rect">
            <a:avLst/>
          </a:prstGeom>
        </p:spPr>
      </p:pic>
      <p:sp>
        <p:nvSpPr>
          <p:cNvPr id="80" name="Прямоугольник 79">
            <a:extLst>
              <a:ext uri="{FF2B5EF4-FFF2-40B4-BE49-F238E27FC236}">
                <a16:creationId xmlns:a16="http://schemas.microsoft.com/office/drawing/2014/main" id="{F7447F37-EC02-6C41-A7F8-E6B1324ED5CE}"/>
              </a:ext>
            </a:extLst>
          </p:cNvPr>
          <p:cNvSpPr/>
          <p:nvPr userDrawn="1"/>
        </p:nvSpPr>
        <p:spPr>
          <a:xfrm>
            <a:off x="0" y="399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 name="TextBox 80">
            <a:extLst>
              <a:ext uri="{FF2B5EF4-FFF2-40B4-BE49-F238E27FC236}">
                <a16:creationId xmlns:a16="http://schemas.microsoft.com/office/drawing/2014/main" id="{75A561D9-FDE5-C342-B3D4-0CF005DE0379}"/>
              </a:ext>
            </a:extLst>
          </p:cNvPr>
          <p:cNvSpPr txBox="1"/>
          <p:nvPr userDrawn="1"/>
        </p:nvSpPr>
        <p:spPr>
          <a:xfrm>
            <a:off x="604489" y="40965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82" name="Рисунок 81">
            <a:extLst>
              <a:ext uri="{FF2B5EF4-FFF2-40B4-BE49-F238E27FC236}">
                <a16:creationId xmlns:a16="http://schemas.microsoft.com/office/drawing/2014/main" id="{55994C36-45D8-8C48-B4B7-C7E711AEDC5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69271" y="4068000"/>
            <a:ext cx="288000" cy="288000"/>
          </a:xfrm>
          <a:prstGeom prst="rect">
            <a:avLst/>
          </a:prstGeom>
        </p:spPr>
      </p:pic>
      <p:sp>
        <p:nvSpPr>
          <p:cNvPr id="83" name="Прямоугольник 82">
            <a:extLst>
              <a:ext uri="{FF2B5EF4-FFF2-40B4-BE49-F238E27FC236}">
                <a16:creationId xmlns:a16="http://schemas.microsoft.com/office/drawing/2014/main" id="{FCAC4E3E-C51B-9245-8A53-CCD3C1691991}"/>
              </a:ext>
            </a:extLst>
          </p:cNvPr>
          <p:cNvSpPr/>
          <p:nvPr userDrawn="1"/>
        </p:nvSpPr>
        <p:spPr>
          <a:xfrm>
            <a:off x="0" y="97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 name="TextBox 83">
            <a:extLst>
              <a:ext uri="{FF2B5EF4-FFF2-40B4-BE49-F238E27FC236}">
                <a16:creationId xmlns:a16="http://schemas.microsoft.com/office/drawing/2014/main" id="{356C6830-9754-844E-8DA9-75EA162BD3A2}"/>
              </a:ext>
            </a:extLst>
          </p:cNvPr>
          <p:cNvSpPr txBox="1"/>
          <p:nvPr userDrawn="1"/>
        </p:nvSpPr>
        <p:spPr>
          <a:xfrm>
            <a:off x="604489" y="10725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85" name="Рисунок 84">
            <a:extLst>
              <a:ext uri="{FF2B5EF4-FFF2-40B4-BE49-F238E27FC236}">
                <a16:creationId xmlns:a16="http://schemas.microsoft.com/office/drawing/2014/main" id="{7064EC08-0EFB-394B-845A-CDD2CE56FF01}"/>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69271" y="1044000"/>
            <a:ext cx="288000" cy="288000"/>
          </a:xfrm>
          <a:prstGeom prst="rect">
            <a:avLst/>
          </a:prstGeom>
        </p:spPr>
      </p:pic>
      <p:sp>
        <p:nvSpPr>
          <p:cNvPr id="86" name="Прямоугольник 85">
            <a:extLst>
              <a:ext uri="{FF2B5EF4-FFF2-40B4-BE49-F238E27FC236}">
                <a16:creationId xmlns:a16="http://schemas.microsoft.com/office/drawing/2014/main" id="{7D3E9C06-31F6-FE49-88A2-1CDF04F8CFBC}"/>
              </a:ext>
            </a:extLst>
          </p:cNvPr>
          <p:cNvSpPr/>
          <p:nvPr userDrawn="1"/>
        </p:nvSpPr>
        <p:spPr>
          <a:xfrm>
            <a:off x="0" y="486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 name="TextBox 86">
            <a:extLst>
              <a:ext uri="{FF2B5EF4-FFF2-40B4-BE49-F238E27FC236}">
                <a16:creationId xmlns:a16="http://schemas.microsoft.com/office/drawing/2014/main" id="{E4E495A5-6C72-9343-94F7-5FD4F82C82E9}"/>
              </a:ext>
            </a:extLst>
          </p:cNvPr>
          <p:cNvSpPr txBox="1"/>
          <p:nvPr userDrawn="1"/>
        </p:nvSpPr>
        <p:spPr>
          <a:xfrm>
            <a:off x="604489" y="49605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88" name="Рисунок 87">
            <a:extLst>
              <a:ext uri="{FF2B5EF4-FFF2-40B4-BE49-F238E27FC236}">
                <a16:creationId xmlns:a16="http://schemas.microsoft.com/office/drawing/2014/main" id="{FEFF2823-1084-1846-9142-D3F96F571D47}"/>
              </a:ext>
            </a:extLst>
          </p:cNvPr>
          <p:cNvPicPr>
            <a:picLocks noChangeAspect="1"/>
          </p:cNvPicPr>
          <p:nvPr userDrawn="1"/>
        </p:nvPicPr>
        <p:blipFill>
          <a:blip r:embed="rId9" cstate="hqprint">
            <a:extLst>
              <a:ext uri="{28A0092B-C50C-407E-A947-70E740481C1C}">
                <a14:useLocalDpi xmlns:a14="http://schemas.microsoft.com/office/drawing/2010/main" val="0"/>
              </a:ext>
            </a:extLst>
          </a:blip>
          <a:stretch>
            <a:fillRect/>
          </a:stretch>
        </p:blipFill>
        <p:spPr>
          <a:xfrm>
            <a:off x="169271" y="4932000"/>
            <a:ext cx="288000" cy="288000"/>
          </a:xfrm>
          <a:prstGeom prst="rect">
            <a:avLst/>
          </a:prstGeom>
        </p:spPr>
      </p:pic>
      <p:sp>
        <p:nvSpPr>
          <p:cNvPr id="89" name="Прямоугольник 88">
            <a:extLst>
              <a:ext uri="{FF2B5EF4-FFF2-40B4-BE49-F238E27FC236}">
                <a16:creationId xmlns:a16="http://schemas.microsoft.com/office/drawing/2014/main" id="{2B3321CC-62E2-0A48-9221-EEFCF7FC8904}"/>
              </a:ext>
            </a:extLst>
          </p:cNvPr>
          <p:cNvSpPr/>
          <p:nvPr userDrawn="1"/>
        </p:nvSpPr>
        <p:spPr>
          <a:xfrm>
            <a:off x="0" y="140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1" name="TextBox 100">
            <a:extLst>
              <a:ext uri="{FF2B5EF4-FFF2-40B4-BE49-F238E27FC236}">
                <a16:creationId xmlns:a16="http://schemas.microsoft.com/office/drawing/2014/main" id="{1EBD213D-AAFE-D44B-9ADC-DDB97BC46C19}"/>
              </a:ext>
            </a:extLst>
          </p:cNvPr>
          <p:cNvSpPr txBox="1"/>
          <p:nvPr userDrawn="1"/>
        </p:nvSpPr>
        <p:spPr>
          <a:xfrm>
            <a:off x="604489" y="15045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102" name="Рисунок 101">
            <a:extLst>
              <a:ext uri="{FF2B5EF4-FFF2-40B4-BE49-F238E27FC236}">
                <a16:creationId xmlns:a16="http://schemas.microsoft.com/office/drawing/2014/main" id="{2FC68E0D-843D-9F45-8B53-AA7A58FBEDAA}"/>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69270" y="1476000"/>
            <a:ext cx="288000" cy="288000"/>
          </a:xfrm>
          <a:prstGeom prst="rect">
            <a:avLst/>
          </a:prstGeom>
        </p:spPr>
      </p:pic>
      <p:sp>
        <p:nvSpPr>
          <p:cNvPr id="103" name="Прямоугольник 102">
            <a:extLst>
              <a:ext uri="{FF2B5EF4-FFF2-40B4-BE49-F238E27FC236}">
                <a16:creationId xmlns:a16="http://schemas.microsoft.com/office/drawing/2014/main" id="{D58D3FED-EEFA-8B4B-AA83-918E1E6EACCD}"/>
              </a:ext>
            </a:extLst>
          </p:cNvPr>
          <p:cNvSpPr/>
          <p:nvPr userDrawn="1"/>
        </p:nvSpPr>
        <p:spPr>
          <a:xfrm>
            <a:off x="0" y="529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4" name="TextBox 103">
            <a:extLst>
              <a:ext uri="{FF2B5EF4-FFF2-40B4-BE49-F238E27FC236}">
                <a16:creationId xmlns:a16="http://schemas.microsoft.com/office/drawing/2014/main" id="{422B1D2E-ED14-2B44-916C-5F934303C462}"/>
              </a:ext>
            </a:extLst>
          </p:cNvPr>
          <p:cNvSpPr txBox="1"/>
          <p:nvPr userDrawn="1"/>
        </p:nvSpPr>
        <p:spPr>
          <a:xfrm>
            <a:off x="604489" y="53925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105" name="Рисунок 104">
            <a:extLst>
              <a:ext uri="{FF2B5EF4-FFF2-40B4-BE49-F238E27FC236}">
                <a16:creationId xmlns:a16="http://schemas.microsoft.com/office/drawing/2014/main" id="{240DCBE2-7E1E-C94F-A6EB-D565A6B99F80}"/>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69270" y="5364000"/>
            <a:ext cx="288000" cy="288000"/>
          </a:xfrm>
          <a:prstGeom prst="rect">
            <a:avLst/>
          </a:prstGeom>
        </p:spPr>
      </p:pic>
      <p:sp>
        <p:nvSpPr>
          <p:cNvPr id="108" name="Прямоугольник 107">
            <a:extLst>
              <a:ext uri="{FF2B5EF4-FFF2-40B4-BE49-F238E27FC236}">
                <a16:creationId xmlns:a16="http://schemas.microsoft.com/office/drawing/2014/main" id="{0F961D5C-3510-1448-A5D3-F54FADA3B83C}"/>
              </a:ext>
            </a:extLst>
          </p:cNvPr>
          <p:cNvSpPr/>
          <p:nvPr userDrawn="1"/>
        </p:nvSpPr>
        <p:spPr>
          <a:xfrm>
            <a:off x="0" y="54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9" name="TextBox 108">
            <a:extLst>
              <a:ext uri="{FF2B5EF4-FFF2-40B4-BE49-F238E27FC236}">
                <a16:creationId xmlns:a16="http://schemas.microsoft.com/office/drawing/2014/main" id="{EF5AE1FC-8862-4742-B5A7-B2CA5D6FE50A}"/>
              </a:ext>
            </a:extLst>
          </p:cNvPr>
          <p:cNvSpPr txBox="1"/>
          <p:nvPr userDrawn="1"/>
        </p:nvSpPr>
        <p:spPr>
          <a:xfrm>
            <a:off x="604489" y="6405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110" name="Рисунок 109">
            <a:extLst>
              <a:ext uri="{FF2B5EF4-FFF2-40B4-BE49-F238E27FC236}">
                <a16:creationId xmlns:a16="http://schemas.microsoft.com/office/drawing/2014/main" id="{DD377A89-5905-3E4F-AA0C-51235F051B55}"/>
              </a:ext>
            </a:extLst>
          </p:cNvPr>
          <p:cNvPicPr>
            <a:picLocks noChangeAspect="1"/>
          </p:cNvPicPr>
          <p:nvPr userDrawn="1"/>
        </p:nvPicPr>
        <p:blipFill>
          <a:blip r:embed="rId12" cstate="hqprint">
            <a:extLst>
              <a:ext uri="{28A0092B-C50C-407E-A947-70E740481C1C}">
                <a14:useLocalDpi xmlns:a14="http://schemas.microsoft.com/office/drawing/2010/main" val="0"/>
              </a:ext>
            </a:extLst>
          </a:blip>
          <a:stretch>
            <a:fillRect/>
          </a:stretch>
        </p:blipFill>
        <p:spPr>
          <a:xfrm>
            <a:off x="169271" y="612000"/>
            <a:ext cx="288000" cy="288000"/>
          </a:xfrm>
          <a:prstGeom prst="rect">
            <a:avLst/>
          </a:prstGeom>
        </p:spPr>
      </p:pic>
      <p:sp>
        <p:nvSpPr>
          <p:cNvPr id="111" name="Прямоугольник 110">
            <a:extLst>
              <a:ext uri="{FF2B5EF4-FFF2-40B4-BE49-F238E27FC236}">
                <a16:creationId xmlns:a16="http://schemas.microsoft.com/office/drawing/2014/main" id="{28E62A3A-B582-FE4A-B332-B0C1E0B35A94}"/>
              </a:ext>
            </a:extLst>
          </p:cNvPr>
          <p:cNvSpPr/>
          <p:nvPr userDrawn="1"/>
        </p:nvSpPr>
        <p:spPr>
          <a:xfrm>
            <a:off x="0" y="572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3" name="TextBox 112">
            <a:extLst>
              <a:ext uri="{FF2B5EF4-FFF2-40B4-BE49-F238E27FC236}">
                <a16:creationId xmlns:a16="http://schemas.microsoft.com/office/drawing/2014/main" id="{26E88F79-85E0-684C-9A93-C876630E907D}"/>
              </a:ext>
            </a:extLst>
          </p:cNvPr>
          <p:cNvSpPr txBox="1"/>
          <p:nvPr userDrawn="1"/>
        </p:nvSpPr>
        <p:spPr>
          <a:xfrm>
            <a:off x="604489" y="58245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114" name="Рисунок 113">
            <a:extLst>
              <a:ext uri="{FF2B5EF4-FFF2-40B4-BE49-F238E27FC236}">
                <a16:creationId xmlns:a16="http://schemas.microsoft.com/office/drawing/2014/main" id="{1B3ACC01-0544-5B4E-A9F7-462F2A48C60A}"/>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69271" y="5796000"/>
            <a:ext cx="288000" cy="288000"/>
          </a:xfrm>
          <a:prstGeom prst="rect">
            <a:avLst/>
          </a:prstGeom>
        </p:spPr>
      </p:pic>
      <p:sp>
        <p:nvSpPr>
          <p:cNvPr id="115" name="Прямоугольник 114">
            <a:extLst>
              <a:ext uri="{FF2B5EF4-FFF2-40B4-BE49-F238E27FC236}">
                <a16:creationId xmlns:a16="http://schemas.microsoft.com/office/drawing/2014/main" id="{C16F8D47-98CC-F847-ABE4-52F5440AC7CD}"/>
              </a:ext>
            </a:extLst>
          </p:cNvPr>
          <p:cNvSpPr/>
          <p:nvPr userDrawn="1"/>
        </p:nvSpPr>
        <p:spPr>
          <a:xfrm>
            <a:off x="0" y="615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6" name="TextBox 115">
            <a:extLst>
              <a:ext uri="{FF2B5EF4-FFF2-40B4-BE49-F238E27FC236}">
                <a16:creationId xmlns:a16="http://schemas.microsoft.com/office/drawing/2014/main" id="{91DDF903-073D-8F4F-AAA4-0B28F740CABC}"/>
              </a:ext>
            </a:extLst>
          </p:cNvPr>
          <p:cNvSpPr txBox="1"/>
          <p:nvPr userDrawn="1"/>
        </p:nvSpPr>
        <p:spPr>
          <a:xfrm>
            <a:off x="604489" y="62565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117" name="Рисунок 116">
            <a:extLst>
              <a:ext uri="{FF2B5EF4-FFF2-40B4-BE49-F238E27FC236}">
                <a16:creationId xmlns:a16="http://schemas.microsoft.com/office/drawing/2014/main" id="{BABDBF7D-1605-AE40-AA7B-D1EFDC6C28B7}"/>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6228000"/>
            <a:ext cx="288000" cy="288000"/>
          </a:xfrm>
          <a:prstGeom prst="rect">
            <a:avLst/>
          </a:prstGeom>
        </p:spPr>
      </p:pic>
      <p:sp>
        <p:nvSpPr>
          <p:cNvPr id="125" name="Прямоугольник 124">
            <a:extLst>
              <a:ext uri="{FF2B5EF4-FFF2-40B4-BE49-F238E27FC236}">
                <a16:creationId xmlns:a16="http://schemas.microsoft.com/office/drawing/2014/main" id="{E8BEAED8-BCD2-EC4C-AD15-EB2C0CDC3E41}"/>
              </a:ext>
            </a:extLst>
          </p:cNvPr>
          <p:cNvSpPr/>
          <p:nvPr userDrawn="1"/>
        </p:nvSpPr>
        <p:spPr>
          <a:xfrm>
            <a:off x="0" y="22680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6" name="TextBox 125">
            <a:extLst>
              <a:ext uri="{FF2B5EF4-FFF2-40B4-BE49-F238E27FC236}">
                <a16:creationId xmlns:a16="http://schemas.microsoft.com/office/drawing/2014/main" id="{30D5BC70-966F-DF44-8B84-F7CE302A04AA}"/>
              </a:ext>
            </a:extLst>
          </p:cNvPr>
          <p:cNvSpPr txBox="1"/>
          <p:nvPr userDrawn="1"/>
        </p:nvSpPr>
        <p:spPr>
          <a:xfrm>
            <a:off x="604489" y="2299334"/>
            <a:ext cx="1439290" cy="369332"/>
          </a:xfrm>
          <a:prstGeom prst="rect">
            <a:avLst/>
          </a:prstGeom>
          <a:noFill/>
        </p:spPr>
        <p:txBody>
          <a:bodyPr wrap="square" rtlCol="0" anchor="ctr">
            <a:spAutoFit/>
          </a:bodyPr>
          <a:lstStyle/>
          <a:p>
            <a:r>
              <a:rPr lang="ru-RU" sz="900" b="1" dirty="0" err="1">
                <a:solidFill>
                  <a:schemeClr val="bg1"/>
                </a:solidFill>
              </a:rPr>
              <a:t>Страновой</a:t>
            </a:r>
            <a:r>
              <a:rPr lang="ru-RU" sz="900" b="1" dirty="0">
                <a:solidFill>
                  <a:schemeClr val="bg1"/>
                </a:solidFill>
              </a:rPr>
              <a:t> риск, залоги, групповая методология</a:t>
            </a:r>
          </a:p>
        </p:txBody>
      </p:sp>
      <p:pic>
        <p:nvPicPr>
          <p:cNvPr id="127" name="Рисунок 126">
            <a:extLst>
              <a:ext uri="{FF2B5EF4-FFF2-40B4-BE49-F238E27FC236}">
                <a16:creationId xmlns:a16="http://schemas.microsoft.com/office/drawing/2014/main" id="{A836928C-161D-3547-B2CC-1413B4340F23}"/>
              </a:ext>
            </a:extLst>
          </p:cNvPr>
          <p:cNvPicPr>
            <a:picLocks noChangeAspect="1"/>
          </p:cNvPicPr>
          <p:nvPr userDrawn="1"/>
        </p:nvPicPr>
        <p:blipFill>
          <a:blip r:embed="rId15" cstate="hqprint">
            <a:extLst>
              <a:ext uri="{28A0092B-C50C-407E-A947-70E740481C1C}">
                <a14:useLocalDpi xmlns:a14="http://schemas.microsoft.com/office/drawing/2010/main" val="0"/>
              </a:ext>
            </a:extLst>
          </a:blip>
          <a:stretch>
            <a:fillRect/>
          </a:stretch>
        </p:blipFill>
        <p:spPr>
          <a:xfrm>
            <a:off x="171523" y="2340000"/>
            <a:ext cx="288000" cy="288000"/>
          </a:xfrm>
          <a:prstGeom prst="rect">
            <a:avLst/>
          </a:prstGeom>
        </p:spPr>
      </p:pic>
      <p:sp>
        <p:nvSpPr>
          <p:cNvPr id="53" name="Прямоугольник 52">
            <a:extLst>
              <a:ext uri="{FF2B5EF4-FFF2-40B4-BE49-F238E27FC236}">
                <a16:creationId xmlns:a16="http://schemas.microsoft.com/office/drawing/2014/main" id="{9A9F3B59-68A4-544B-BF50-9B53FF713F2A}"/>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4" name="Рисунок 53">
            <a:extLst>
              <a:ext uri="{FF2B5EF4-FFF2-40B4-BE49-F238E27FC236}">
                <a16:creationId xmlns:a16="http://schemas.microsoft.com/office/drawing/2014/main" id="{145BFD92-0CCC-2548-B93F-9662405F6A16}"/>
              </a:ext>
            </a:extLst>
          </p:cNvPr>
          <p:cNvPicPr>
            <a:picLocks noChangeAspect="1"/>
          </p:cNvPicPr>
          <p:nvPr userDrawn="1"/>
        </p:nvPicPr>
        <p:blipFill rotWithShape="1">
          <a:blip r:embed="rId16"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pic>
        <p:nvPicPr>
          <p:cNvPr id="4" name="Рисунок 3"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2" name="Рисунок 1"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spTree>
    <p:extLst>
      <p:ext uri="{BB962C8B-B14F-4D97-AF65-F5344CB8AC3E}">
        <p14:creationId xmlns:p14="http://schemas.microsoft.com/office/powerpoint/2010/main" val="381946440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6_RDG">
    <p:spTree>
      <p:nvGrpSpPr>
        <p:cNvPr id="1" name=""/>
        <p:cNvGrpSpPr/>
        <p:nvPr/>
      </p:nvGrpSpPr>
      <p:grpSpPr>
        <a:xfrm>
          <a:off x="0" y="0"/>
          <a:ext cx="0" cy="0"/>
          <a:chOff x="0" y="0"/>
          <a:chExt cx="0" cy="0"/>
        </a:xfrm>
      </p:grpSpPr>
      <p:sp>
        <p:nvSpPr>
          <p:cNvPr id="37" name="Прямоугольник 36">
            <a:extLst>
              <a:ext uri="{FF2B5EF4-FFF2-40B4-BE49-F238E27FC236}">
                <a16:creationId xmlns:a16="http://schemas.microsoft.com/office/drawing/2014/main" id="{C31705CD-5D0D-7A4C-AB46-2243AE0560DC}"/>
              </a:ext>
            </a:extLst>
          </p:cNvPr>
          <p:cNvSpPr/>
          <p:nvPr userDrawn="1"/>
        </p:nvSpPr>
        <p:spPr>
          <a:xfrm>
            <a:off x="2135560" y="1"/>
            <a:ext cx="1006719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Title 1">
            <a:extLst>
              <a:ext uri="{FF2B5EF4-FFF2-40B4-BE49-F238E27FC236}">
                <a16:creationId xmlns:a16="http://schemas.microsoft.com/office/drawing/2014/main" id="{04ECA7A3-B03F-5941-9662-A1CFDEAF9B58}"/>
              </a:ext>
            </a:extLst>
          </p:cNvPr>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0" name="TextBox 89">
            <a:extLst>
              <a:ext uri="{FF2B5EF4-FFF2-40B4-BE49-F238E27FC236}">
                <a16:creationId xmlns:a16="http://schemas.microsoft.com/office/drawing/2014/main" id="{D471E5CA-35F9-EA46-9D8E-E098CBA0CB16}"/>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grpSp>
        <p:nvGrpSpPr>
          <p:cNvPr id="57" name="Группа 56">
            <a:extLst>
              <a:ext uri="{FF2B5EF4-FFF2-40B4-BE49-F238E27FC236}">
                <a16:creationId xmlns:a16="http://schemas.microsoft.com/office/drawing/2014/main" id="{BE15C263-324D-2D4F-803D-7D09AE541695}"/>
              </a:ext>
            </a:extLst>
          </p:cNvPr>
          <p:cNvGrpSpPr/>
          <p:nvPr userDrawn="1"/>
        </p:nvGrpSpPr>
        <p:grpSpPr>
          <a:xfrm>
            <a:off x="0" y="-7200"/>
            <a:ext cx="2148770" cy="553998"/>
            <a:chOff x="0" y="11193"/>
            <a:chExt cx="2148770" cy="553998"/>
          </a:xfrm>
        </p:grpSpPr>
        <p:sp>
          <p:nvSpPr>
            <p:cNvPr id="58" name="Прямоугольник 57">
              <a:extLst>
                <a:ext uri="{FF2B5EF4-FFF2-40B4-BE49-F238E27FC236}">
                  <a16:creationId xmlns:a16="http://schemas.microsoft.com/office/drawing/2014/main" id="{8CA8CEA2-B50B-E74F-9F40-EDFC0D3A035A}"/>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 name="TextBox 58">
              <a:extLst>
                <a:ext uri="{FF2B5EF4-FFF2-40B4-BE49-F238E27FC236}">
                  <a16:creationId xmlns:a16="http://schemas.microsoft.com/office/drawing/2014/main" id="{AF9C2CDA-09E4-8644-9F9C-8B1B1BD47C91}"/>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60" name="TextBox 59">
              <a:extLst>
                <a:ext uri="{FF2B5EF4-FFF2-40B4-BE49-F238E27FC236}">
                  <a16:creationId xmlns:a16="http://schemas.microsoft.com/office/drawing/2014/main" id="{8778F962-DBBE-FE4E-BF2B-755875EA8262}"/>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62" name="Прямоугольник 61">
            <a:extLst>
              <a:ext uri="{FF2B5EF4-FFF2-40B4-BE49-F238E27FC236}">
                <a16:creationId xmlns:a16="http://schemas.microsoft.com/office/drawing/2014/main" id="{91DC37E6-EE61-B34B-B3EA-4BA8EF0F8F69}"/>
              </a:ext>
            </a:extLst>
          </p:cNvPr>
          <p:cNvSpPr/>
          <p:nvPr userDrawn="1"/>
        </p:nvSpPr>
        <p:spPr>
          <a:xfrm>
            <a:off x="0" y="313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3" name="TextBox 62">
            <a:extLst>
              <a:ext uri="{FF2B5EF4-FFF2-40B4-BE49-F238E27FC236}">
                <a16:creationId xmlns:a16="http://schemas.microsoft.com/office/drawing/2014/main" id="{476D5459-A01B-7B43-8DF4-C23D8A497ED8}"/>
              </a:ext>
            </a:extLst>
          </p:cNvPr>
          <p:cNvSpPr txBox="1"/>
          <p:nvPr userDrawn="1"/>
        </p:nvSpPr>
        <p:spPr>
          <a:xfrm>
            <a:off x="604489" y="32325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64" name="Рисунок 63">
            <a:extLst>
              <a:ext uri="{FF2B5EF4-FFF2-40B4-BE49-F238E27FC236}">
                <a16:creationId xmlns:a16="http://schemas.microsoft.com/office/drawing/2014/main" id="{90757B9F-EA84-A14B-9EE1-80D7F3A8064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3204000"/>
            <a:ext cx="288000" cy="288000"/>
          </a:xfrm>
          <a:prstGeom prst="rect">
            <a:avLst/>
          </a:prstGeom>
        </p:spPr>
      </p:pic>
      <p:sp>
        <p:nvSpPr>
          <p:cNvPr id="68" name="Прямоугольник 67">
            <a:extLst>
              <a:ext uri="{FF2B5EF4-FFF2-40B4-BE49-F238E27FC236}">
                <a16:creationId xmlns:a16="http://schemas.microsoft.com/office/drawing/2014/main" id="{D3F20275-0E71-664A-A6FC-2FB58EB17711}"/>
              </a:ext>
            </a:extLst>
          </p:cNvPr>
          <p:cNvSpPr/>
          <p:nvPr userDrawn="1"/>
        </p:nvSpPr>
        <p:spPr>
          <a:xfrm>
            <a:off x="0" y="226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 name="TextBox 68">
            <a:extLst>
              <a:ext uri="{FF2B5EF4-FFF2-40B4-BE49-F238E27FC236}">
                <a16:creationId xmlns:a16="http://schemas.microsoft.com/office/drawing/2014/main" id="{DF998A21-899E-A943-BE5D-96CED6B1FD1A}"/>
              </a:ext>
            </a:extLst>
          </p:cNvPr>
          <p:cNvSpPr txBox="1"/>
          <p:nvPr userDrawn="1"/>
        </p:nvSpPr>
        <p:spPr>
          <a:xfrm>
            <a:off x="604489" y="22993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70" name="Рисунок 69">
            <a:extLst>
              <a:ext uri="{FF2B5EF4-FFF2-40B4-BE49-F238E27FC236}">
                <a16:creationId xmlns:a16="http://schemas.microsoft.com/office/drawing/2014/main" id="{3932A2EB-D54F-D941-8E12-3035CA74FE37}"/>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69271" y="2340000"/>
            <a:ext cx="288000" cy="288000"/>
          </a:xfrm>
          <a:prstGeom prst="rect">
            <a:avLst/>
          </a:prstGeom>
        </p:spPr>
      </p:pic>
      <p:sp>
        <p:nvSpPr>
          <p:cNvPr id="71" name="Прямоугольник 70">
            <a:extLst>
              <a:ext uri="{FF2B5EF4-FFF2-40B4-BE49-F238E27FC236}">
                <a16:creationId xmlns:a16="http://schemas.microsoft.com/office/drawing/2014/main" id="{8B8D5288-4388-194A-8BD5-24B1B2CDFC5C}"/>
              </a:ext>
            </a:extLst>
          </p:cNvPr>
          <p:cNvSpPr/>
          <p:nvPr userDrawn="1"/>
        </p:nvSpPr>
        <p:spPr>
          <a:xfrm>
            <a:off x="0" y="183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 name="TextBox 71">
            <a:extLst>
              <a:ext uri="{FF2B5EF4-FFF2-40B4-BE49-F238E27FC236}">
                <a16:creationId xmlns:a16="http://schemas.microsoft.com/office/drawing/2014/main" id="{77AB0A61-548F-9A4D-B91C-BE34EF7EAEE7}"/>
              </a:ext>
            </a:extLst>
          </p:cNvPr>
          <p:cNvSpPr txBox="1"/>
          <p:nvPr userDrawn="1"/>
        </p:nvSpPr>
        <p:spPr>
          <a:xfrm>
            <a:off x="604489" y="18673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73" name="Рисунок 72">
            <a:extLst>
              <a:ext uri="{FF2B5EF4-FFF2-40B4-BE49-F238E27FC236}">
                <a16:creationId xmlns:a16="http://schemas.microsoft.com/office/drawing/2014/main" id="{DEA178B8-F46E-E745-B636-957DA4E989C8}"/>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69271" y="1908000"/>
            <a:ext cx="288000" cy="288000"/>
          </a:xfrm>
          <a:prstGeom prst="rect">
            <a:avLst/>
          </a:prstGeom>
        </p:spPr>
      </p:pic>
      <p:sp>
        <p:nvSpPr>
          <p:cNvPr id="74" name="Прямоугольник 73">
            <a:extLst>
              <a:ext uri="{FF2B5EF4-FFF2-40B4-BE49-F238E27FC236}">
                <a16:creationId xmlns:a16="http://schemas.microsoft.com/office/drawing/2014/main" id="{9575B87F-5B79-FB46-AD18-DD367AB77632}"/>
              </a:ext>
            </a:extLst>
          </p:cNvPr>
          <p:cNvSpPr/>
          <p:nvPr userDrawn="1"/>
        </p:nvSpPr>
        <p:spPr>
          <a:xfrm>
            <a:off x="0" y="442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 name="TextBox 74">
            <a:extLst>
              <a:ext uri="{FF2B5EF4-FFF2-40B4-BE49-F238E27FC236}">
                <a16:creationId xmlns:a16="http://schemas.microsoft.com/office/drawing/2014/main" id="{25337AFB-204B-D149-87F4-53C5DBD90A51}"/>
              </a:ext>
            </a:extLst>
          </p:cNvPr>
          <p:cNvSpPr txBox="1"/>
          <p:nvPr userDrawn="1"/>
        </p:nvSpPr>
        <p:spPr>
          <a:xfrm>
            <a:off x="604489" y="45285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76" name="Рисунок 75">
            <a:extLst>
              <a:ext uri="{FF2B5EF4-FFF2-40B4-BE49-F238E27FC236}">
                <a16:creationId xmlns:a16="http://schemas.microsoft.com/office/drawing/2014/main" id="{12275692-C073-5040-B2CA-4EA5287ED72A}"/>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69271" y="4500000"/>
            <a:ext cx="288000" cy="288000"/>
          </a:xfrm>
          <a:prstGeom prst="rect">
            <a:avLst/>
          </a:prstGeom>
        </p:spPr>
      </p:pic>
      <p:sp>
        <p:nvSpPr>
          <p:cNvPr id="77" name="Прямоугольник 76">
            <a:extLst>
              <a:ext uri="{FF2B5EF4-FFF2-40B4-BE49-F238E27FC236}">
                <a16:creationId xmlns:a16="http://schemas.microsoft.com/office/drawing/2014/main" id="{053A7ECE-DEDE-BF4F-AA8D-E64B10F0F126}"/>
              </a:ext>
            </a:extLst>
          </p:cNvPr>
          <p:cNvSpPr/>
          <p:nvPr userDrawn="1"/>
        </p:nvSpPr>
        <p:spPr>
          <a:xfrm>
            <a:off x="0" y="356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 name="TextBox 77">
            <a:extLst>
              <a:ext uri="{FF2B5EF4-FFF2-40B4-BE49-F238E27FC236}">
                <a16:creationId xmlns:a16="http://schemas.microsoft.com/office/drawing/2014/main" id="{B68D1F76-7C68-3E4C-81F5-FD85BD0893F9}"/>
              </a:ext>
            </a:extLst>
          </p:cNvPr>
          <p:cNvSpPr txBox="1"/>
          <p:nvPr userDrawn="1"/>
        </p:nvSpPr>
        <p:spPr>
          <a:xfrm>
            <a:off x="604489" y="36645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79" name="Рисунок 78">
            <a:extLst>
              <a:ext uri="{FF2B5EF4-FFF2-40B4-BE49-F238E27FC236}">
                <a16:creationId xmlns:a16="http://schemas.microsoft.com/office/drawing/2014/main" id="{53F45673-C16A-C645-8938-C10E36A6B4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69271" y="3636000"/>
            <a:ext cx="288000" cy="288000"/>
          </a:xfrm>
          <a:prstGeom prst="rect">
            <a:avLst/>
          </a:prstGeom>
        </p:spPr>
      </p:pic>
      <p:sp>
        <p:nvSpPr>
          <p:cNvPr id="80" name="Прямоугольник 79">
            <a:extLst>
              <a:ext uri="{FF2B5EF4-FFF2-40B4-BE49-F238E27FC236}">
                <a16:creationId xmlns:a16="http://schemas.microsoft.com/office/drawing/2014/main" id="{3CB9BB49-388F-5A4D-AFB4-1BA6CB11CD3F}"/>
              </a:ext>
            </a:extLst>
          </p:cNvPr>
          <p:cNvSpPr/>
          <p:nvPr userDrawn="1"/>
        </p:nvSpPr>
        <p:spPr>
          <a:xfrm>
            <a:off x="0" y="399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 name="TextBox 80">
            <a:extLst>
              <a:ext uri="{FF2B5EF4-FFF2-40B4-BE49-F238E27FC236}">
                <a16:creationId xmlns:a16="http://schemas.microsoft.com/office/drawing/2014/main" id="{ED72030C-7730-264E-8EDB-CDBB4776AF20}"/>
              </a:ext>
            </a:extLst>
          </p:cNvPr>
          <p:cNvSpPr txBox="1"/>
          <p:nvPr userDrawn="1"/>
        </p:nvSpPr>
        <p:spPr>
          <a:xfrm>
            <a:off x="604489" y="40965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82" name="Рисунок 81">
            <a:extLst>
              <a:ext uri="{FF2B5EF4-FFF2-40B4-BE49-F238E27FC236}">
                <a16:creationId xmlns:a16="http://schemas.microsoft.com/office/drawing/2014/main" id="{A6559E0E-D093-2740-97D2-914A9CF924FC}"/>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69271" y="4068000"/>
            <a:ext cx="288000" cy="288000"/>
          </a:xfrm>
          <a:prstGeom prst="rect">
            <a:avLst/>
          </a:prstGeom>
        </p:spPr>
      </p:pic>
      <p:sp>
        <p:nvSpPr>
          <p:cNvPr id="83" name="Прямоугольник 82">
            <a:extLst>
              <a:ext uri="{FF2B5EF4-FFF2-40B4-BE49-F238E27FC236}">
                <a16:creationId xmlns:a16="http://schemas.microsoft.com/office/drawing/2014/main" id="{7429F954-5476-1F49-B2F4-7B63C9AE080A}"/>
              </a:ext>
            </a:extLst>
          </p:cNvPr>
          <p:cNvSpPr/>
          <p:nvPr userDrawn="1"/>
        </p:nvSpPr>
        <p:spPr>
          <a:xfrm>
            <a:off x="0" y="97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 name="TextBox 83">
            <a:extLst>
              <a:ext uri="{FF2B5EF4-FFF2-40B4-BE49-F238E27FC236}">
                <a16:creationId xmlns:a16="http://schemas.microsoft.com/office/drawing/2014/main" id="{4E933976-FA65-0F4F-92E4-F0180A0A9DA7}"/>
              </a:ext>
            </a:extLst>
          </p:cNvPr>
          <p:cNvSpPr txBox="1"/>
          <p:nvPr userDrawn="1"/>
        </p:nvSpPr>
        <p:spPr>
          <a:xfrm>
            <a:off x="604489" y="10725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85" name="Рисунок 84">
            <a:extLst>
              <a:ext uri="{FF2B5EF4-FFF2-40B4-BE49-F238E27FC236}">
                <a16:creationId xmlns:a16="http://schemas.microsoft.com/office/drawing/2014/main" id="{1FB117D1-659B-4645-B7C3-4A9B825ADBC2}"/>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69271" y="1044000"/>
            <a:ext cx="288000" cy="288000"/>
          </a:xfrm>
          <a:prstGeom prst="rect">
            <a:avLst/>
          </a:prstGeom>
        </p:spPr>
      </p:pic>
      <p:sp>
        <p:nvSpPr>
          <p:cNvPr id="86" name="Прямоугольник 85">
            <a:extLst>
              <a:ext uri="{FF2B5EF4-FFF2-40B4-BE49-F238E27FC236}">
                <a16:creationId xmlns:a16="http://schemas.microsoft.com/office/drawing/2014/main" id="{3E7A7033-207E-CA48-BD71-4BE6CEF1B4C9}"/>
              </a:ext>
            </a:extLst>
          </p:cNvPr>
          <p:cNvSpPr/>
          <p:nvPr userDrawn="1"/>
        </p:nvSpPr>
        <p:spPr>
          <a:xfrm>
            <a:off x="0" y="486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 name="TextBox 86">
            <a:extLst>
              <a:ext uri="{FF2B5EF4-FFF2-40B4-BE49-F238E27FC236}">
                <a16:creationId xmlns:a16="http://schemas.microsoft.com/office/drawing/2014/main" id="{FF6487A2-2972-E847-BE73-050BC5BAFC58}"/>
              </a:ext>
            </a:extLst>
          </p:cNvPr>
          <p:cNvSpPr txBox="1"/>
          <p:nvPr userDrawn="1"/>
        </p:nvSpPr>
        <p:spPr>
          <a:xfrm>
            <a:off x="604489" y="49605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88" name="Рисунок 87">
            <a:extLst>
              <a:ext uri="{FF2B5EF4-FFF2-40B4-BE49-F238E27FC236}">
                <a16:creationId xmlns:a16="http://schemas.microsoft.com/office/drawing/2014/main" id="{C358E523-0036-064C-8EC5-9AB4437B7CF2}"/>
              </a:ext>
            </a:extLst>
          </p:cNvPr>
          <p:cNvPicPr>
            <a:picLocks noChangeAspect="1"/>
          </p:cNvPicPr>
          <p:nvPr userDrawn="1"/>
        </p:nvPicPr>
        <p:blipFill>
          <a:blip r:embed="rId9" cstate="hqprint">
            <a:extLst>
              <a:ext uri="{28A0092B-C50C-407E-A947-70E740481C1C}">
                <a14:useLocalDpi xmlns:a14="http://schemas.microsoft.com/office/drawing/2010/main" val="0"/>
              </a:ext>
            </a:extLst>
          </a:blip>
          <a:stretch>
            <a:fillRect/>
          </a:stretch>
        </p:blipFill>
        <p:spPr>
          <a:xfrm>
            <a:off x="169271" y="4932000"/>
            <a:ext cx="288000" cy="288000"/>
          </a:xfrm>
          <a:prstGeom prst="rect">
            <a:avLst/>
          </a:prstGeom>
        </p:spPr>
      </p:pic>
      <p:sp>
        <p:nvSpPr>
          <p:cNvPr id="89" name="Прямоугольник 88">
            <a:extLst>
              <a:ext uri="{FF2B5EF4-FFF2-40B4-BE49-F238E27FC236}">
                <a16:creationId xmlns:a16="http://schemas.microsoft.com/office/drawing/2014/main" id="{F50D433A-4477-AD44-B60A-088010CD1F3A}"/>
              </a:ext>
            </a:extLst>
          </p:cNvPr>
          <p:cNvSpPr/>
          <p:nvPr userDrawn="1"/>
        </p:nvSpPr>
        <p:spPr>
          <a:xfrm>
            <a:off x="0" y="140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1" name="TextBox 100">
            <a:extLst>
              <a:ext uri="{FF2B5EF4-FFF2-40B4-BE49-F238E27FC236}">
                <a16:creationId xmlns:a16="http://schemas.microsoft.com/office/drawing/2014/main" id="{52EE9C38-33B1-FF48-83E0-64B88E5C9E39}"/>
              </a:ext>
            </a:extLst>
          </p:cNvPr>
          <p:cNvSpPr txBox="1"/>
          <p:nvPr userDrawn="1"/>
        </p:nvSpPr>
        <p:spPr>
          <a:xfrm>
            <a:off x="604489" y="15045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102" name="Рисунок 101">
            <a:extLst>
              <a:ext uri="{FF2B5EF4-FFF2-40B4-BE49-F238E27FC236}">
                <a16:creationId xmlns:a16="http://schemas.microsoft.com/office/drawing/2014/main" id="{1B8CCF4D-5DF3-834C-89AB-786C4A53AB2E}"/>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69270" y="1476000"/>
            <a:ext cx="288000" cy="288000"/>
          </a:xfrm>
          <a:prstGeom prst="rect">
            <a:avLst/>
          </a:prstGeom>
        </p:spPr>
      </p:pic>
      <p:sp>
        <p:nvSpPr>
          <p:cNvPr id="103" name="Прямоугольник 102">
            <a:extLst>
              <a:ext uri="{FF2B5EF4-FFF2-40B4-BE49-F238E27FC236}">
                <a16:creationId xmlns:a16="http://schemas.microsoft.com/office/drawing/2014/main" id="{0CDDA1D0-D26D-B14E-BFD8-B59FCAF6FC62}"/>
              </a:ext>
            </a:extLst>
          </p:cNvPr>
          <p:cNvSpPr/>
          <p:nvPr userDrawn="1"/>
        </p:nvSpPr>
        <p:spPr>
          <a:xfrm>
            <a:off x="0" y="529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4" name="TextBox 103">
            <a:extLst>
              <a:ext uri="{FF2B5EF4-FFF2-40B4-BE49-F238E27FC236}">
                <a16:creationId xmlns:a16="http://schemas.microsoft.com/office/drawing/2014/main" id="{9637DAA0-9116-2744-96BD-75117EF24823}"/>
              </a:ext>
            </a:extLst>
          </p:cNvPr>
          <p:cNvSpPr txBox="1"/>
          <p:nvPr userDrawn="1"/>
        </p:nvSpPr>
        <p:spPr>
          <a:xfrm>
            <a:off x="604489" y="53925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105" name="Рисунок 104">
            <a:extLst>
              <a:ext uri="{FF2B5EF4-FFF2-40B4-BE49-F238E27FC236}">
                <a16:creationId xmlns:a16="http://schemas.microsoft.com/office/drawing/2014/main" id="{A8C6FCB2-989A-E04F-BBAB-79EA81343666}"/>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69270" y="5364000"/>
            <a:ext cx="288000" cy="288000"/>
          </a:xfrm>
          <a:prstGeom prst="rect">
            <a:avLst/>
          </a:prstGeom>
        </p:spPr>
      </p:pic>
      <p:sp>
        <p:nvSpPr>
          <p:cNvPr id="108" name="Прямоугольник 107">
            <a:extLst>
              <a:ext uri="{FF2B5EF4-FFF2-40B4-BE49-F238E27FC236}">
                <a16:creationId xmlns:a16="http://schemas.microsoft.com/office/drawing/2014/main" id="{6031055C-5649-9448-9F7F-A20EE252D107}"/>
              </a:ext>
            </a:extLst>
          </p:cNvPr>
          <p:cNvSpPr/>
          <p:nvPr userDrawn="1"/>
        </p:nvSpPr>
        <p:spPr>
          <a:xfrm>
            <a:off x="0" y="54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9" name="TextBox 108">
            <a:extLst>
              <a:ext uri="{FF2B5EF4-FFF2-40B4-BE49-F238E27FC236}">
                <a16:creationId xmlns:a16="http://schemas.microsoft.com/office/drawing/2014/main" id="{C00EEA30-24AD-2441-B5DA-394AABBD799A}"/>
              </a:ext>
            </a:extLst>
          </p:cNvPr>
          <p:cNvSpPr txBox="1"/>
          <p:nvPr userDrawn="1"/>
        </p:nvSpPr>
        <p:spPr>
          <a:xfrm>
            <a:off x="604489" y="6405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110" name="Рисунок 109">
            <a:extLst>
              <a:ext uri="{FF2B5EF4-FFF2-40B4-BE49-F238E27FC236}">
                <a16:creationId xmlns:a16="http://schemas.microsoft.com/office/drawing/2014/main" id="{27CFFECB-4B79-5046-A5DC-C628D4B5C87D}"/>
              </a:ext>
            </a:extLst>
          </p:cNvPr>
          <p:cNvPicPr>
            <a:picLocks noChangeAspect="1"/>
          </p:cNvPicPr>
          <p:nvPr userDrawn="1"/>
        </p:nvPicPr>
        <p:blipFill>
          <a:blip r:embed="rId12" cstate="hqprint">
            <a:extLst>
              <a:ext uri="{28A0092B-C50C-407E-A947-70E740481C1C}">
                <a14:useLocalDpi xmlns:a14="http://schemas.microsoft.com/office/drawing/2010/main" val="0"/>
              </a:ext>
            </a:extLst>
          </a:blip>
          <a:stretch>
            <a:fillRect/>
          </a:stretch>
        </p:blipFill>
        <p:spPr>
          <a:xfrm>
            <a:off x="169271" y="612000"/>
            <a:ext cx="288000" cy="288000"/>
          </a:xfrm>
          <a:prstGeom prst="rect">
            <a:avLst/>
          </a:prstGeom>
        </p:spPr>
      </p:pic>
      <p:sp>
        <p:nvSpPr>
          <p:cNvPr id="111" name="Прямоугольник 110">
            <a:extLst>
              <a:ext uri="{FF2B5EF4-FFF2-40B4-BE49-F238E27FC236}">
                <a16:creationId xmlns:a16="http://schemas.microsoft.com/office/drawing/2014/main" id="{7A4B72CD-BDC3-704B-9979-895C86EC8121}"/>
              </a:ext>
            </a:extLst>
          </p:cNvPr>
          <p:cNvSpPr/>
          <p:nvPr userDrawn="1"/>
        </p:nvSpPr>
        <p:spPr>
          <a:xfrm>
            <a:off x="0" y="572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2" name="TextBox 111">
            <a:extLst>
              <a:ext uri="{FF2B5EF4-FFF2-40B4-BE49-F238E27FC236}">
                <a16:creationId xmlns:a16="http://schemas.microsoft.com/office/drawing/2014/main" id="{DD4E8B20-6FCD-E84A-B608-F434E5959C6C}"/>
              </a:ext>
            </a:extLst>
          </p:cNvPr>
          <p:cNvSpPr txBox="1"/>
          <p:nvPr userDrawn="1"/>
        </p:nvSpPr>
        <p:spPr>
          <a:xfrm>
            <a:off x="604489" y="58245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113" name="Рисунок 112">
            <a:extLst>
              <a:ext uri="{FF2B5EF4-FFF2-40B4-BE49-F238E27FC236}">
                <a16:creationId xmlns:a16="http://schemas.microsoft.com/office/drawing/2014/main" id="{B8918800-96B1-294E-8BBC-078DF784A6AF}"/>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69271" y="5796000"/>
            <a:ext cx="288000" cy="288000"/>
          </a:xfrm>
          <a:prstGeom prst="rect">
            <a:avLst/>
          </a:prstGeom>
        </p:spPr>
      </p:pic>
      <p:sp>
        <p:nvSpPr>
          <p:cNvPr id="115" name="Прямоугольник 114">
            <a:extLst>
              <a:ext uri="{FF2B5EF4-FFF2-40B4-BE49-F238E27FC236}">
                <a16:creationId xmlns:a16="http://schemas.microsoft.com/office/drawing/2014/main" id="{2178BD51-1247-8548-810F-034F5A0AE993}"/>
              </a:ext>
            </a:extLst>
          </p:cNvPr>
          <p:cNvSpPr/>
          <p:nvPr userDrawn="1"/>
        </p:nvSpPr>
        <p:spPr>
          <a:xfrm>
            <a:off x="0" y="615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6" name="TextBox 115">
            <a:extLst>
              <a:ext uri="{FF2B5EF4-FFF2-40B4-BE49-F238E27FC236}">
                <a16:creationId xmlns:a16="http://schemas.microsoft.com/office/drawing/2014/main" id="{4EEC7D48-6B50-834B-B973-9A917AD49181}"/>
              </a:ext>
            </a:extLst>
          </p:cNvPr>
          <p:cNvSpPr txBox="1"/>
          <p:nvPr userDrawn="1"/>
        </p:nvSpPr>
        <p:spPr>
          <a:xfrm>
            <a:off x="604489" y="62565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117" name="Рисунок 116">
            <a:extLst>
              <a:ext uri="{FF2B5EF4-FFF2-40B4-BE49-F238E27FC236}">
                <a16:creationId xmlns:a16="http://schemas.microsoft.com/office/drawing/2014/main" id="{0DB427EC-AAF6-A74D-8E23-02197E5F3690}"/>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6228000"/>
            <a:ext cx="288000" cy="288000"/>
          </a:xfrm>
          <a:prstGeom prst="rect">
            <a:avLst/>
          </a:prstGeom>
        </p:spPr>
      </p:pic>
      <p:sp>
        <p:nvSpPr>
          <p:cNvPr id="121" name="Прямоугольник 120">
            <a:extLst>
              <a:ext uri="{FF2B5EF4-FFF2-40B4-BE49-F238E27FC236}">
                <a16:creationId xmlns:a16="http://schemas.microsoft.com/office/drawing/2014/main" id="{76B9DF58-897B-9746-8239-36E5B9079C4A}"/>
              </a:ext>
            </a:extLst>
          </p:cNvPr>
          <p:cNvSpPr/>
          <p:nvPr userDrawn="1"/>
        </p:nvSpPr>
        <p:spPr>
          <a:xfrm>
            <a:off x="0" y="27000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2" name="TextBox 121">
            <a:extLst>
              <a:ext uri="{FF2B5EF4-FFF2-40B4-BE49-F238E27FC236}">
                <a16:creationId xmlns:a16="http://schemas.microsoft.com/office/drawing/2014/main" id="{86312993-8EBF-4049-9E9B-1367AC493F3E}"/>
              </a:ext>
            </a:extLst>
          </p:cNvPr>
          <p:cNvSpPr txBox="1"/>
          <p:nvPr userDrawn="1"/>
        </p:nvSpPr>
        <p:spPr>
          <a:xfrm>
            <a:off x="604489" y="2800584"/>
            <a:ext cx="1439290" cy="230832"/>
          </a:xfrm>
          <a:prstGeom prst="rect">
            <a:avLst/>
          </a:prstGeom>
          <a:noFill/>
        </p:spPr>
        <p:txBody>
          <a:bodyPr wrap="square" rtlCol="0" anchor="ctr">
            <a:spAutoFit/>
          </a:bodyPr>
          <a:lstStyle/>
          <a:p>
            <a:r>
              <a:rPr lang="en-US" sz="900" b="1" dirty="0">
                <a:solidFill>
                  <a:schemeClr val="bg1"/>
                </a:solidFill>
              </a:rPr>
              <a:t>Risk Data Governance</a:t>
            </a:r>
            <a:endParaRPr lang="ru-RU" sz="900" b="1" dirty="0">
              <a:solidFill>
                <a:schemeClr val="bg1"/>
              </a:solidFill>
            </a:endParaRPr>
          </a:p>
        </p:txBody>
      </p:sp>
      <p:pic>
        <p:nvPicPr>
          <p:cNvPr id="124" name="Рисунок 123">
            <a:extLst>
              <a:ext uri="{FF2B5EF4-FFF2-40B4-BE49-F238E27FC236}">
                <a16:creationId xmlns:a16="http://schemas.microsoft.com/office/drawing/2014/main" id="{3EDFE196-BDED-3141-9409-E027BA1D8876}"/>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171523" y="2772000"/>
            <a:ext cx="288000" cy="288000"/>
          </a:xfrm>
          <a:prstGeom prst="rect">
            <a:avLst/>
          </a:prstGeom>
        </p:spPr>
      </p:pic>
      <p:sp>
        <p:nvSpPr>
          <p:cNvPr id="53" name="Прямоугольник 52">
            <a:extLst>
              <a:ext uri="{FF2B5EF4-FFF2-40B4-BE49-F238E27FC236}">
                <a16:creationId xmlns:a16="http://schemas.microsoft.com/office/drawing/2014/main" id="{4021FC77-B251-3E42-BA6C-F1994A1FB0A5}"/>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4" name="Рисунок 53">
            <a:extLst>
              <a:ext uri="{FF2B5EF4-FFF2-40B4-BE49-F238E27FC236}">
                <a16:creationId xmlns:a16="http://schemas.microsoft.com/office/drawing/2014/main" id="{2CD09D0B-D2C5-2641-8FEE-56732EEF3148}"/>
              </a:ext>
            </a:extLst>
          </p:cNvPr>
          <p:cNvPicPr>
            <a:picLocks noChangeAspect="1"/>
          </p:cNvPicPr>
          <p:nvPr userDrawn="1"/>
        </p:nvPicPr>
        <p:blipFill rotWithShape="1">
          <a:blip r:embed="rId16"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pic>
        <p:nvPicPr>
          <p:cNvPr id="14" name="Рисунок 13" descr="http://C19E03B9ACCBFA56DC6DEDE59F81EABF.dms.sberbank.ru/C19E03B9ACCBFA56DC6DEDE59F81EABF-C84D87D17A171F6D15A801A76AF179A3-ABD1954582B367FE0B5E580EEE7824CD/1.png"/>
          <p:cNvPicPr>
            <a:picLocks/>
          </p:cNvPicPr>
          <p:nvPr userDrawn="1"/>
        </p:nvPicPr>
        <p:blipFill>
          <a:blip r:link="rId17"/>
          <a:stretch>
            <a:fillRect/>
          </a:stretch>
        </p:blipFill>
        <p:spPr>
          <a:xfrm>
            <a:off x="0" y="0"/>
            <a:ext cx="1588" cy="1588"/>
          </a:xfrm>
          <a:prstGeom prst="rect">
            <a:avLst/>
          </a:prstGeom>
        </p:spPr>
      </p:pic>
      <p:pic>
        <p:nvPicPr>
          <p:cNvPr id="15" name="Рисунок 14" descr="http://C19E03B9ACCBFA56DC6DEDE59F81EABF.dms.sberbank.ru/C19E03B9ACCBFA56DC6DEDE59F81EABF-C84D87D17A171F6D15A801A76AF179A3-ABD1954582B367FE0B5E580EEE7824CD/1.png"/>
          <p:cNvPicPr>
            <a:picLocks/>
          </p:cNvPicPr>
          <p:nvPr userDrawn="1"/>
        </p:nvPicPr>
        <p:blipFill>
          <a:blip r:link="rId17"/>
          <a:stretch>
            <a:fillRect/>
          </a:stretch>
        </p:blipFill>
        <p:spPr>
          <a:xfrm>
            <a:off x="0" y="0"/>
            <a:ext cx="1588" cy="1588"/>
          </a:xfrm>
          <a:prstGeom prst="rect">
            <a:avLst/>
          </a:prstGeom>
        </p:spPr>
      </p:pic>
    </p:spTree>
    <p:extLst>
      <p:ext uri="{BB962C8B-B14F-4D97-AF65-F5344CB8AC3E}">
        <p14:creationId xmlns:p14="http://schemas.microsoft.com/office/powerpoint/2010/main" val="363560668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7_RMG">
    <p:spTree>
      <p:nvGrpSpPr>
        <p:cNvPr id="1" name=""/>
        <p:cNvGrpSpPr/>
        <p:nvPr/>
      </p:nvGrpSpPr>
      <p:grpSpPr>
        <a:xfrm>
          <a:off x="0" y="0"/>
          <a:ext cx="0" cy="0"/>
          <a:chOff x="0" y="0"/>
          <a:chExt cx="0" cy="0"/>
        </a:xfrm>
      </p:grpSpPr>
      <p:sp>
        <p:nvSpPr>
          <p:cNvPr id="37" name="Прямоугольник 36">
            <a:extLst>
              <a:ext uri="{FF2B5EF4-FFF2-40B4-BE49-F238E27FC236}">
                <a16:creationId xmlns:a16="http://schemas.microsoft.com/office/drawing/2014/main" id="{399BA92D-4ABE-4E4A-BB8B-D824CF0755F8}"/>
              </a:ext>
            </a:extLst>
          </p:cNvPr>
          <p:cNvSpPr/>
          <p:nvPr userDrawn="1"/>
        </p:nvSpPr>
        <p:spPr>
          <a:xfrm>
            <a:off x="2135560" y="1"/>
            <a:ext cx="1006719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Title 1">
            <a:extLst>
              <a:ext uri="{FF2B5EF4-FFF2-40B4-BE49-F238E27FC236}">
                <a16:creationId xmlns:a16="http://schemas.microsoft.com/office/drawing/2014/main" id="{C2534959-7665-9549-891B-D8754FD4A5F3}"/>
              </a:ext>
            </a:extLst>
          </p:cNvPr>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0" name="TextBox 89">
            <a:extLst>
              <a:ext uri="{FF2B5EF4-FFF2-40B4-BE49-F238E27FC236}">
                <a16:creationId xmlns:a16="http://schemas.microsoft.com/office/drawing/2014/main" id="{35848C8C-DAE5-E94B-B0F3-CEA4D805FCD8}"/>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grpSp>
        <p:nvGrpSpPr>
          <p:cNvPr id="57" name="Группа 56">
            <a:extLst>
              <a:ext uri="{FF2B5EF4-FFF2-40B4-BE49-F238E27FC236}">
                <a16:creationId xmlns:a16="http://schemas.microsoft.com/office/drawing/2014/main" id="{897D154F-1AEE-834D-B0A2-248344F7C9C2}"/>
              </a:ext>
            </a:extLst>
          </p:cNvPr>
          <p:cNvGrpSpPr/>
          <p:nvPr userDrawn="1"/>
        </p:nvGrpSpPr>
        <p:grpSpPr>
          <a:xfrm>
            <a:off x="0" y="-7200"/>
            <a:ext cx="2148770" cy="553998"/>
            <a:chOff x="0" y="11193"/>
            <a:chExt cx="2148770" cy="553998"/>
          </a:xfrm>
        </p:grpSpPr>
        <p:sp>
          <p:nvSpPr>
            <p:cNvPr id="58" name="Прямоугольник 57">
              <a:extLst>
                <a:ext uri="{FF2B5EF4-FFF2-40B4-BE49-F238E27FC236}">
                  <a16:creationId xmlns:a16="http://schemas.microsoft.com/office/drawing/2014/main" id="{328A1084-B5D7-9B4D-B50A-E6B3A731960A}"/>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 name="TextBox 58">
              <a:extLst>
                <a:ext uri="{FF2B5EF4-FFF2-40B4-BE49-F238E27FC236}">
                  <a16:creationId xmlns:a16="http://schemas.microsoft.com/office/drawing/2014/main" id="{539FB6A1-7179-FE4F-B74B-774E3649A8CD}"/>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60" name="TextBox 59">
              <a:extLst>
                <a:ext uri="{FF2B5EF4-FFF2-40B4-BE49-F238E27FC236}">
                  <a16:creationId xmlns:a16="http://schemas.microsoft.com/office/drawing/2014/main" id="{EA81CB6B-DE7C-1041-8C60-F4AC01D1495B}"/>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65" name="Прямоугольник 64">
            <a:extLst>
              <a:ext uri="{FF2B5EF4-FFF2-40B4-BE49-F238E27FC236}">
                <a16:creationId xmlns:a16="http://schemas.microsoft.com/office/drawing/2014/main" id="{0BBC7E69-F409-864B-B9E4-EF819D25771E}"/>
              </a:ext>
            </a:extLst>
          </p:cNvPr>
          <p:cNvSpPr/>
          <p:nvPr userDrawn="1"/>
        </p:nvSpPr>
        <p:spPr>
          <a:xfrm>
            <a:off x="0" y="270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 name="TextBox 65">
            <a:extLst>
              <a:ext uri="{FF2B5EF4-FFF2-40B4-BE49-F238E27FC236}">
                <a16:creationId xmlns:a16="http://schemas.microsoft.com/office/drawing/2014/main" id="{CC87237E-293E-2240-875F-3255CBF7F35B}"/>
              </a:ext>
            </a:extLst>
          </p:cNvPr>
          <p:cNvSpPr txBox="1"/>
          <p:nvPr userDrawn="1"/>
        </p:nvSpPr>
        <p:spPr>
          <a:xfrm>
            <a:off x="604489" y="28005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67" name="Рисунок 66">
            <a:extLst>
              <a:ext uri="{FF2B5EF4-FFF2-40B4-BE49-F238E27FC236}">
                <a16:creationId xmlns:a16="http://schemas.microsoft.com/office/drawing/2014/main" id="{76A69FC9-CE77-DB44-A7E4-89CD403C01E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2772000"/>
            <a:ext cx="288000" cy="288000"/>
          </a:xfrm>
          <a:prstGeom prst="rect">
            <a:avLst/>
          </a:prstGeom>
        </p:spPr>
      </p:pic>
      <p:sp>
        <p:nvSpPr>
          <p:cNvPr id="68" name="Прямоугольник 67">
            <a:extLst>
              <a:ext uri="{FF2B5EF4-FFF2-40B4-BE49-F238E27FC236}">
                <a16:creationId xmlns:a16="http://schemas.microsoft.com/office/drawing/2014/main" id="{0F23D643-A8CA-274F-8ABB-810E3C801430}"/>
              </a:ext>
            </a:extLst>
          </p:cNvPr>
          <p:cNvSpPr/>
          <p:nvPr userDrawn="1"/>
        </p:nvSpPr>
        <p:spPr>
          <a:xfrm>
            <a:off x="0" y="226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 name="TextBox 68">
            <a:extLst>
              <a:ext uri="{FF2B5EF4-FFF2-40B4-BE49-F238E27FC236}">
                <a16:creationId xmlns:a16="http://schemas.microsoft.com/office/drawing/2014/main" id="{068DADCE-137C-5646-BBDA-8A150E44C90B}"/>
              </a:ext>
            </a:extLst>
          </p:cNvPr>
          <p:cNvSpPr txBox="1"/>
          <p:nvPr userDrawn="1"/>
        </p:nvSpPr>
        <p:spPr>
          <a:xfrm>
            <a:off x="604489" y="22993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70" name="Рисунок 69">
            <a:extLst>
              <a:ext uri="{FF2B5EF4-FFF2-40B4-BE49-F238E27FC236}">
                <a16:creationId xmlns:a16="http://schemas.microsoft.com/office/drawing/2014/main" id="{C4DFC0C1-8940-B04C-B95A-83CBFC2F5839}"/>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69271" y="2340000"/>
            <a:ext cx="288000" cy="288000"/>
          </a:xfrm>
          <a:prstGeom prst="rect">
            <a:avLst/>
          </a:prstGeom>
        </p:spPr>
      </p:pic>
      <p:sp>
        <p:nvSpPr>
          <p:cNvPr id="71" name="Прямоугольник 70">
            <a:extLst>
              <a:ext uri="{FF2B5EF4-FFF2-40B4-BE49-F238E27FC236}">
                <a16:creationId xmlns:a16="http://schemas.microsoft.com/office/drawing/2014/main" id="{EAE2FE64-2AD6-8448-B1A0-749FA20458D3}"/>
              </a:ext>
            </a:extLst>
          </p:cNvPr>
          <p:cNvSpPr/>
          <p:nvPr userDrawn="1"/>
        </p:nvSpPr>
        <p:spPr>
          <a:xfrm>
            <a:off x="0" y="183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 name="TextBox 71">
            <a:extLst>
              <a:ext uri="{FF2B5EF4-FFF2-40B4-BE49-F238E27FC236}">
                <a16:creationId xmlns:a16="http://schemas.microsoft.com/office/drawing/2014/main" id="{56FF69D4-F550-6444-9997-638AC0B27B13}"/>
              </a:ext>
            </a:extLst>
          </p:cNvPr>
          <p:cNvSpPr txBox="1"/>
          <p:nvPr userDrawn="1"/>
        </p:nvSpPr>
        <p:spPr>
          <a:xfrm>
            <a:off x="604489" y="18673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73" name="Рисунок 72">
            <a:extLst>
              <a:ext uri="{FF2B5EF4-FFF2-40B4-BE49-F238E27FC236}">
                <a16:creationId xmlns:a16="http://schemas.microsoft.com/office/drawing/2014/main" id="{AEB1FFFE-365D-F642-A899-23C9326D53BC}"/>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69271" y="1908000"/>
            <a:ext cx="288000" cy="288000"/>
          </a:xfrm>
          <a:prstGeom prst="rect">
            <a:avLst/>
          </a:prstGeom>
        </p:spPr>
      </p:pic>
      <p:sp>
        <p:nvSpPr>
          <p:cNvPr id="74" name="Прямоугольник 73">
            <a:extLst>
              <a:ext uri="{FF2B5EF4-FFF2-40B4-BE49-F238E27FC236}">
                <a16:creationId xmlns:a16="http://schemas.microsoft.com/office/drawing/2014/main" id="{4F4C5236-EF18-DF44-9925-BB4A166D6E2B}"/>
              </a:ext>
            </a:extLst>
          </p:cNvPr>
          <p:cNvSpPr/>
          <p:nvPr userDrawn="1"/>
        </p:nvSpPr>
        <p:spPr>
          <a:xfrm>
            <a:off x="0" y="442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 name="TextBox 74">
            <a:extLst>
              <a:ext uri="{FF2B5EF4-FFF2-40B4-BE49-F238E27FC236}">
                <a16:creationId xmlns:a16="http://schemas.microsoft.com/office/drawing/2014/main" id="{CF5706A9-78A1-9144-82AF-F2B34C2EBF88}"/>
              </a:ext>
            </a:extLst>
          </p:cNvPr>
          <p:cNvSpPr txBox="1"/>
          <p:nvPr userDrawn="1"/>
        </p:nvSpPr>
        <p:spPr>
          <a:xfrm>
            <a:off x="604489" y="45285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76" name="Рисунок 75">
            <a:extLst>
              <a:ext uri="{FF2B5EF4-FFF2-40B4-BE49-F238E27FC236}">
                <a16:creationId xmlns:a16="http://schemas.microsoft.com/office/drawing/2014/main" id="{70921371-6842-8147-8CDE-6190BF028B4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69271" y="4500000"/>
            <a:ext cx="288000" cy="288000"/>
          </a:xfrm>
          <a:prstGeom prst="rect">
            <a:avLst/>
          </a:prstGeom>
        </p:spPr>
      </p:pic>
      <p:sp>
        <p:nvSpPr>
          <p:cNvPr id="77" name="Прямоугольник 76">
            <a:extLst>
              <a:ext uri="{FF2B5EF4-FFF2-40B4-BE49-F238E27FC236}">
                <a16:creationId xmlns:a16="http://schemas.microsoft.com/office/drawing/2014/main" id="{5070B045-5359-494D-9AA1-019C2F108A8F}"/>
              </a:ext>
            </a:extLst>
          </p:cNvPr>
          <p:cNvSpPr/>
          <p:nvPr userDrawn="1"/>
        </p:nvSpPr>
        <p:spPr>
          <a:xfrm>
            <a:off x="0" y="356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 name="TextBox 77">
            <a:extLst>
              <a:ext uri="{FF2B5EF4-FFF2-40B4-BE49-F238E27FC236}">
                <a16:creationId xmlns:a16="http://schemas.microsoft.com/office/drawing/2014/main" id="{B8156FBA-26A9-A945-9CD6-2D9AA26FB5DE}"/>
              </a:ext>
            </a:extLst>
          </p:cNvPr>
          <p:cNvSpPr txBox="1"/>
          <p:nvPr userDrawn="1"/>
        </p:nvSpPr>
        <p:spPr>
          <a:xfrm>
            <a:off x="604489" y="36645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79" name="Рисунок 78">
            <a:extLst>
              <a:ext uri="{FF2B5EF4-FFF2-40B4-BE49-F238E27FC236}">
                <a16:creationId xmlns:a16="http://schemas.microsoft.com/office/drawing/2014/main" id="{10A75F89-2361-3149-BC0E-FF2DA4B418E6}"/>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69271" y="3636000"/>
            <a:ext cx="288000" cy="288000"/>
          </a:xfrm>
          <a:prstGeom prst="rect">
            <a:avLst/>
          </a:prstGeom>
        </p:spPr>
      </p:pic>
      <p:sp>
        <p:nvSpPr>
          <p:cNvPr id="80" name="Прямоугольник 79">
            <a:extLst>
              <a:ext uri="{FF2B5EF4-FFF2-40B4-BE49-F238E27FC236}">
                <a16:creationId xmlns:a16="http://schemas.microsoft.com/office/drawing/2014/main" id="{400E5F07-8B12-D94C-97AF-FC8F1C3E19FF}"/>
              </a:ext>
            </a:extLst>
          </p:cNvPr>
          <p:cNvSpPr/>
          <p:nvPr userDrawn="1"/>
        </p:nvSpPr>
        <p:spPr>
          <a:xfrm>
            <a:off x="0" y="399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 name="TextBox 80">
            <a:extLst>
              <a:ext uri="{FF2B5EF4-FFF2-40B4-BE49-F238E27FC236}">
                <a16:creationId xmlns:a16="http://schemas.microsoft.com/office/drawing/2014/main" id="{F8F7826A-66F5-3944-AAD4-A76E1CCCD7B1}"/>
              </a:ext>
            </a:extLst>
          </p:cNvPr>
          <p:cNvSpPr txBox="1"/>
          <p:nvPr userDrawn="1"/>
        </p:nvSpPr>
        <p:spPr>
          <a:xfrm>
            <a:off x="604489" y="40965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82" name="Рисунок 81">
            <a:extLst>
              <a:ext uri="{FF2B5EF4-FFF2-40B4-BE49-F238E27FC236}">
                <a16:creationId xmlns:a16="http://schemas.microsoft.com/office/drawing/2014/main" id="{DB73DA07-D8CE-1149-9E02-A823DFD0023B}"/>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69271" y="4068000"/>
            <a:ext cx="288000" cy="288000"/>
          </a:xfrm>
          <a:prstGeom prst="rect">
            <a:avLst/>
          </a:prstGeom>
        </p:spPr>
      </p:pic>
      <p:sp>
        <p:nvSpPr>
          <p:cNvPr id="83" name="Прямоугольник 82">
            <a:extLst>
              <a:ext uri="{FF2B5EF4-FFF2-40B4-BE49-F238E27FC236}">
                <a16:creationId xmlns:a16="http://schemas.microsoft.com/office/drawing/2014/main" id="{51DD222B-9019-BE47-BADB-4652BC1F1EC6}"/>
              </a:ext>
            </a:extLst>
          </p:cNvPr>
          <p:cNvSpPr/>
          <p:nvPr userDrawn="1"/>
        </p:nvSpPr>
        <p:spPr>
          <a:xfrm>
            <a:off x="0" y="97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 name="TextBox 83">
            <a:extLst>
              <a:ext uri="{FF2B5EF4-FFF2-40B4-BE49-F238E27FC236}">
                <a16:creationId xmlns:a16="http://schemas.microsoft.com/office/drawing/2014/main" id="{9717A874-B1DF-7D43-A756-10B0FF458187}"/>
              </a:ext>
            </a:extLst>
          </p:cNvPr>
          <p:cNvSpPr txBox="1"/>
          <p:nvPr userDrawn="1"/>
        </p:nvSpPr>
        <p:spPr>
          <a:xfrm>
            <a:off x="604489" y="10725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85" name="Рисунок 84">
            <a:extLst>
              <a:ext uri="{FF2B5EF4-FFF2-40B4-BE49-F238E27FC236}">
                <a16:creationId xmlns:a16="http://schemas.microsoft.com/office/drawing/2014/main" id="{1229E5EC-2DCC-4A4E-81C2-E0E0288A46B7}"/>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69271" y="1044000"/>
            <a:ext cx="288000" cy="288000"/>
          </a:xfrm>
          <a:prstGeom prst="rect">
            <a:avLst/>
          </a:prstGeom>
        </p:spPr>
      </p:pic>
      <p:sp>
        <p:nvSpPr>
          <p:cNvPr id="86" name="Прямоугольник 85">
            <a:extLst>
              <a:ext uri="{FF2B5EF4-FFF2-40B4-BE49-F238E27FC236}">
                <a16:creationId xmlns:a16="http://schemas.microsoft.com/office/drawing/2014/main" id="{1F8D99E8-67F2-9943-A339-73168B5BD34A}"/>
              </a:ext>
            </a:extLst>
          </p:cNvPr>
          <p:cNvSpPr/>
          <p:nvPr userDrawn="1"/>
        </p:nvSpPr>
        <p:spPr>
          <a:xfrm>
            <a:off x="0" y="486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 name="TextBox 86">
            <a:extLst>
              <a:ext uri="{FF2B5EF4-FFF2-40B4-BE49-F238E27FC236}">
                <a16:creationId xmlns:a16="http://schemas.microsoft.com/office/drawing/2014/main" id="{C18F9CCA-8F6C-374F-B930-47082FBC03B1}"/>
              </a:ext>
            </a:extLst>
          </p:cNvPr>
          <p:cNvSpPr txBox="1"/>
          <p:nvPr userDrawn="1"/>
        </p:nvSpPr>
        <p:spPr>
          <a:xfrm>
            <a:off x="604489" y="49605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88" name="Рисунок 87">
            <a:extLst>
              <a:ext uri="{FF2B5EF4-FFF2-40B4-BE49-F238E27FC236}">
                <a16:creationId xmlns:a16="http://schemas.microsoft.com/office/drawing/2014/main" id="{0B92972C-1EFD-B240-8D1D-BD9B44EADB07}"/>
              </a:ext>
            </a:extLst>
          </p:cNvPr>
          <p:cNvPicPr>
            <a:picLocks noChangeAspect="1"/>
          </p:cNvPicPr>
          <p:nvPr userDrawn="1"/>
        </p:nvPicPr>
        <p:blipFill>
          <a:blip r:embed="rId9" cstate="hqprint">
            <a:extLst>
              <a:ext uri="{28A0092B-C50C-407E-A947-70E740481C1C}">
                <a14:useLocalDpi xmlns:a14="http://schemas.microsoft.com/office/drawing/2010/main" val="0"/>
              </a:ext>
            </a:extLst>
          </a:blip>
          <a:stretch>
            <a:fillRect/>
          </a:stretch>
        </p:blipFill>
        <p:spPr>
          <a:xfrm>
            <a:off x="169271" y="4932000"/>
            <a:ext cx="288000" cy="288000"/>
          </a:xfrm>
          <a:prstGeom prst="rect">
            <a:avLst/>
          </a:prstGeom>
        </p:spPr>
      </p:pic>
      <p:sp>
        <p:nvSpPr>
          <p:cNvPr id="89" name="Прямоугольник 88">
            <a:extLst>
              <a:ext uri="{FF2B5EF4-FFF2-40B4-BE49-F238E27FC236}">
                <a16:creationId xmlns:a16="http://schemas.microsoft.com/office/drawing/2014/main" id="{CC764F7C-71CC-BC49-9FFD-2BC274F3B44D}"/>
              </a:ext>
            </a:extLst>
          </p:cNvPr>
          <p:cNvSpPr/>
          <p:nvPr userDrawn="1"/>
        </p:nvSpPr>
        <p:spPr>
          <a:xfrm>
            <a:off x="0" y="140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1" name="TextBox 100">
            <a:extLst>
              <a:ext uri="{FF2B5EF4-FFF2-40B4-BE49-F238E27FC236}">
                <a16:creationId xmlns:a16="http://schemas.microsoft.com/office/drawing/2014/main" id="{AA2E1947-0D2B-1749-88C7-EFE60CF9E81E}"/>
              </a:ext>
            </a:extLst>
          </p:cNvPr>
          <p:cNvSpPr txBox="1"/>
          <p:nvPr userDrawn="1"/>
        </p:nvSpPr>
        <p:spPr>
          <a:xfrm>
            <a:off x="604489" y="15045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102" name="Рисунок 101">
            <a:extLst>
              <a:ext uri="{FF2B5EF4-FFF2-40B4-BE49-F238E27FC236}">
                <a16:creationId xmlns:a16="http://schemas.microsoft.com/office/drawing/2014/main" id="{2928D337-074F-4744-A2F9-33C66AA44056}"/>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69270" y="1476000"/>
            <a:ext cx="288000" cy="288000"/>
          </a:xfrm>
          <a:prstGeom prst="rect">
            <a:avLst/>
          </a:prstGeom>
        </p:spPr>
      </p:pic>
      <p:sp>
        <p:nvSpPr>
          <p:cNvPr id="103" name="Прямоугольник 102">
            <a:extLst>
              <a:ext uri="{FF2B5EF4-FFF2-40B4-BE49-F238E27FC236}">
                <a16:creationId xmlns:a16="http://schemas.microsoft.com/office/drawing/2014/main" id="{BF20818A-9327-B045-8D81-B23A2CE76A46}"/>
              </a:ext>
            </a:extLst>
          </p:cNvPr>
          <p:cNvSpPr/>
          <p:nvPr userDrawn="1"/>
        </p:nvSpPr>
        <p:spPr>
          <a:xfrm>
            <a:off x="0" y="529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4" name="TextBox 103">
            <a:extLst>
              <a:ext uri="{FF2B5EF4-FFF2-40B4-BE49-F238E27FC236}">
                <a16:creationId xmlns:a16="http://schemas.microsoft.com/office/drawing/2014/main" id="{1437CB49-0ECC-F04B-B662-9A0B986AF4B0}"/>
              </a:ext>
            </a:extLst>
          </p:cNvPr>
          <p:cNvSpPr txBox="1"/>
          <p:nvPr userDrawn="1"/>
        </p:nvSpPr>
        <p:spPr>
          <a:xfrm>
            <a:off x="604489" y="53925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105" name="Рисунок 104">
            <a:extLst>
              <a:ext uri="{FF2B5EF4-FFF2-40B4-BE49-F238E27FC236}">
                <a16:creationId xmlns:a16="http://schemas.microsoft.com/office/drawing/2014/main" id="{F31EBA68-E793-7B4F-AB27-AE7F1F10359E}"/>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69270" y="5364000"/>
            <a:ext cx="288000" cy="288000"/>
          </a:xfrm>
          <a:prstGeom prst="rect">
            <a:avLst/>
          </a:prstGeom>
        </p:spPr>
      </p:pic>
      <p:sp>
        <p:nvSpPr>
          <p:cNvPr id="108" name="Прямоугольник 107">
            <a:extLst>
              <a:ext uri="{FF2B5EF4-FFF2-40B4-BE49-F238E27FC236}">
                <a16:creationId xmlns:a16="http://schemas.microsoft.com/office/drawing/2014/main" id="{96BD6286-0548-AF4C-ADEA-5075359C1399}"/>
              </a:ext>
            </a:extLst>
          </p:cNvPr>
          <p:cNvSpPr/>
          <p:nvPr userDrawn="1"/>
        </p:nvSpPr>
        <p:spPr>
          <a:xfrm>
            <a:off x="0" y="54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9" name="TextBox 108">
            <a:extLst>
              <a:ext uri="{FF2B5EF4-FFF2-40B4-BE49-F238E27FC236}">
                <a16:creationId xmlns:a16="http://schemas.microsoft.com/office/drawing/2014/main" id="{D3F6EC01-24CB-BB45-ABDB-BCB7BA5D3788}"/>
              </a:ext>
            </a:extLst>
          </p:cNvPr>
          <p:cNvSpPr txBox="1"/>
          <p:nvPr userDrawn="1"/>
        </p:nvSpPr>
        <p:spPr>
          <a:xfrm>
            <a:off x="604489" y="6405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110" name="Рисунок 109">
            <a:extLst>
              <a:ext uri="{FF2B5EF4-FFF2-40B4-BE49-F238E27FC236}">
                <a16:creationId xmlns:a16="http://schemas.microsoft.com/office/drawing/2014/main" id="{266BDD3D-3D9F-984E-88BF-9B727A8DF018}"/>
              </a:ext>
            </a:extLst>
          </p:cNvPr>
          <p:cNvPicPr>
            <a:picLocks noChangeAspect="1"/>
          </p:cNvPicPr>
          <p:nvPr userDrawn="1"/>
        </p:nvPicPr>
        <p:blipFill>
          <a:blip r:embed="rId12" cstate="hqprint">
            <a:extLst>
              <a:ext uri="{28A0092B-C50C-407E-A947-70E740481C1C}">
                <a14:useLocalDpi xmlns:a14="http://schemas.microsoft.com/office/drawing/2010/main" val="0"/>
              </a:ext>
            </a:extLst>
          </a:blip>
          <a:stretch>
            <a:fillRect/>
          </a:stretch>
        </p:blipFill>
        <p:spPr>
          <a:xfrm>
            <a:off x="169271" y="612000"/>
            <a:ext cx="288000" cy="288000"/>
          </a:xfrm>
          <a:prstGeom prst="rect">
            <a:avLst/>
          </a:prstGeom>
        </p:spPr>
      </p:pic>
      <p:sp>
        <p:nvSpPr>
          <p:cNvPr id="111" name="Прямоугольник 110">
            <a:extLst>
              <a:ext uri="{FF2B5EF4-FFF2-40B4-BE49-F238E27FC236}">
                <a16:creationId xmlns:a16="http://schemas.microsoft.com/office/drawing/2014/main" id="{DE8615D2-9B07-724F-8E94-7E6BC6C98DEB}"/>
              </a:ext>
            </a:extLst>
          </p:cNvPr>
          <p:cNvSpPr/>
          <p:nvPr userDrawn="1"/>
        </p:nvSpPr>
        <p:spPr>
          <a:xfrm>
            <a:off x="0" y="572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2" name="TextBox 111">
            <a:extLst>
              <a:ext uri="{FF2B5EF4-FFF2-40B4-BE49-F238E27FC236}">
                <a16:creationId xmlns:a16="http://schemas.microsoft.com/office/drawing/2014/main" id="{0674BE85-84DB-0D43-8E74-22D3F2892061}"/>
              </a:ext>
            </a:extLst>
          </p:cNvPr>
          <p:cNvSpPr txBox="1"/>
          <p:nvPr userDrawn="1"/>
        </p:nvSpPr>
        <p:spPr>
          <a:xfrm>
            <a:off x="604489" y="58245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113" name="Рисунок 112">
            <a:extLst>
              <a:ext uri="{FF2B5EF4-FFF2-40B4-BE49-F238E27FC236}">
                <a16:creationId xmlns:a16="http://schemas.microsoft.com/office/drawing/2014/main" id="{E76F844F-5564-1345-8981-A242F2973E00}"/>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69271" y="5796000"/>
            <a:ext cx="288000" cy="288000"/>
          </a:xfrm>
          <a:prstGeom prst="rect">
            <a:avLst/>
          </a:prstGeom>
        </p:spPr>
      </p:pic>
      <p:sp>
        <p:nvSpPr>
          <p:cNvPr id="114" name="Прямоугольник 113">
            <a:extLst>
              <a:ext uri="{FF2B5EF4-FFF2-40B4-BE49-F238E27FC236}">
                <a16:creationId xmlns:a16="http://schemas.microsoft.com/office/drawing/2014/main" id="{DB9C625A-E503-9E4A-AB43-2EF34F6D846A}"/>
              </a:ext>
            </a:extLst>
          </p:cNvPr>
          <p:cNvSpPr/>
          <p:nvPr userDrawn="1"/>
        </p:nvSpPr>
        <p:spPr>
          <a:xfrm>
            <a:off x="0" y="615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5" name="TextBox 114">
            <a:extLst>
              <a:ext uri="{FF2B5EF4-FFF2-40B4-BE49-F238E27FC236}">
                <a16:creationId xmlns:a16="http://schemas.microsoft.com/office/drawing/2014/main" id="{0687BB7F-1DA5-3E41-902D-693CFA51B675}"/>
              </a:ext>
            </a:extLst>
          </p:cNvPr>
          <p:cNvSpPr txBox="1"/>
          <p:nvPr userDrawn="1"/>
        </p:nvSpPr>
        <p:spPr>
          <a:xfrm>
            <a:off x="604489" y="62565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117" name="Рисунок 116">
            <a:extLst>
              <a:ext uri="{FF2B5EF4-FFF2-40B4-BE49-F238E27FC236}">
                <a16:creationId xmlns:a16="http://schemas.microsoft.com/office/drawing/2014/main" id="{5E525C3D-EBBD-1441-86AA-EB024CEC95EF}"/>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6228000"/>
            <a:ext cx="288000" cy="288000"/>
          </a:xfrm>
          <a:prstGeom prst="rect">
            <a:avLst/>
          </a:prstGeom>
        </p:spPr>
      </p:pic>
      <p:sp>
        <p:nvSpPr>
          <p:cNvPr id="118" name="Прямоугольник 117">
            <a:extLst>
              <a:ext uri="{FF2B5EF4-FFF2-40B4-BE49-F238E27FC236}">
                <a16:creationId xmlns:a16="http://schemas.microsoft.com/office/drawing/2014/main" id="{6EE78AE9-3780-FC47-A744-2B9C9AFA3089}"/>
              </a:ext>
            </a:extLst>
          </p:cNvPr>
          <p:cNvSpPr/>
          <p:nvPr userDrawn="1"/>
        </p:nvSpPr>
        <p:spPr>
          <a:xfrm>
            <a:off x="0" y="31320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9" name="TextBox 118">
            <a:extLst>
              <a:ext uri="{FF2B5EF4-FFF2-40B4-BE49-F238E27FC236}">
                <a16:creationId xmlns:a16="http://schemas.microsoft.com/office/drawing/2014/main" id="{AD09A97B-2BE3-FE42-8498-EF01D31587D3}"/>
              </a:ext>
            </a:extLst>
          </p:cNvPr>
          <p:cNvSpPr txBox="1"/>
          <p:nvPr userDrawn="1"/>
        </p:nvSpPr>
        <p:spPr>
          <a:xfrm>
            <a:off x="604489" y="3232584"/>
            <a:ext cx="1439290" cy="230832"/>
          </a:xfrm>
          <a:prstGeom prst="rect">
            <a:avLst/>
          </a:prstGeom>
          <a:noFill/>
        </p:spPr>
        <p:txBody>
          <a:bodyPr wrap="square" rtlCol="0" anchor="ctr">
            <a:spAutoFit/>
          </a:bodyPr>
          <a:lstStyle/>
          <a:p>
            <a:r>
              <a:rPr lang="en-US" sz="900" b="1" dirty="0">
                <a:solidFill>
                  <a:schemeClr val="bg1"/>
                </a:solidFill>
              </a:rPr>
              <a:t>Risk Model Governance</a:t>
            </a:r>
            <a:endParaRPr lang="ru-RU" sz="900" b="1" dirty="0">
              <a:solidFill>
                <a:schemeClr val="bg1"/>
              </a:solidFill>
            </a:endParaRPr>
          </a:p>
        </p:txBody>
      </p:sp>
      <p:pic>
        <p:nvPicPr>
          <p:cNvPr id="120" name="Рисунок 119">
            <a:extLst>
              <a:ext uri="{FF2B5EF4-FFF2-40B4-BE49-F238E27FC236}">
                <a16:creationId xmlns:a16="http://schemas.microsoft.com/office/drawing/2014/main" id="{CE46A9A9-290E-BC42-9307-3B40C5B3FCC4}"/>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171523" y="3204000"/>
            <a:ext cx="288000" cy="288000"/>
          </a:xfrm>
          <a:prstGeom prst="rect">
            <a:avLst/>
          </a:prstGeom>
        </p:spPr>
      </p:pic>
      <p:sp>
        <p:nvSpPr>
          <p:cNvPr id="53" name="Прямоугольник 52">
            <a:extLst>
              <a:ext uri="{FF2B5EF4-FFF2-40B4-BE49-F238E27FC236}">
                <a16:creationId xmlns:a16="http://schemas.microsoft.com/office/drawing/2014/main" id="{266067B0-98C7-0C40-9B68-5FEF8CF4E4A9}"/>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4" name="Рисунок 53">
            <a:extLst>
              <a:ext uri="{FF2B5EF4-FFF2-40B4-BE49-F238E27FC236}">
                <a16:creationId xmlns:a16="http://schemas.microsoft.com/office/drawing/2014/main" id="{4EDD57E6-3614-B643-A15B-C2B609709B6F}"/>
              </a:ext>
            </a:extLst>
          </p:cNvPr>
          <p:cNvPicPr>
            <a:picLocks noChangeAspect="1"/>
          </p:cNvPicPr>
          <p:nvPr userDrawn="1"/>
        </p:nvPicPr>
        <p:blipFill rotWithShape="1">
          <a:blip r:embed="rId16"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pic>
        <p:nvPicPr>
          <p:cNvPr id="4" name="Рисунок 3"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2" name="Рисунок 1"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spTree>
    <p:extLst>
      <p:ext uri="{BB962C8B-B14F-4D97-AF65-F5344CB8AC3E}">
        <p14:creationId xmlns:p14="http://schemas.microsoft.com/office/powerpoint/2010/main" val="269126046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9_Риски банковской книги">
    <p:spTree>
      <p:nvGrpSpPr>
        <p:cNvPr id="1" name=""/>
        <p:cNvGrpSpPr/>
        <p:nvPr/>
      </p:nvGrpSpPr>
      <p:grpSpPr>
        <a:xfrm>
          <a:off x="0" y="0"/>
          <a:ext cx="0" cy="0"/>
          <a:chOff x="0" y="0"/>
          <a:chExt cx="0" cy="0"/>
        </a:xfrm>
      </p:grpSpPr>
      <p:sp>
        <p:nvSpPr>
          <p:cNvPr id="37" name="Прямоугольник 36">
            <a:extLst>
              <a:ext uri="{FF2B5EF4-FFF2-40B4-BE49-F238E27FC236}">
                <a16:creationId xmlns:a16="http://schemas.microsoft.com/office/drawing/2014/main" id="{61B071F3-E6B3-AD47-BAE4-1BBEB00D4A46}"/>
              </a:ext>
            </a:extLst>
          </p:cNvPr>
          <p:cNvSpPr/>
          <p:nvPr userDrawn="1"/>
        </p:nvSpPr>
        <p:spPr>
          <a:xfrm>
            <a:off x="2135560" y="1"/>
            <a:ext cx="1006719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Title 1">
            <a:extLst>
              <a:ext uri="{FF2B5EF4-FFF2-40B4-BE49-F238E27FC236}">
                <a16:creationId xmlns:a16="http://schemas.microsoft.com/office/drawing/2014/main" id="{298FE323-8D2D-3D48-8036-B820C5702469}"/>
              </a:ext>
            </a:extLst>
          </p:cNvPr>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0" name="TextBox 89">
            <a:extLst>
              <a:ext uri="{FF2B5EF4-FFF2-40B4-BE49-F238E27FC236}">
                <a16:creationId xmlns:a16="http://schemas.microsoft.com/office/drawing/2014/main" id="{59C9967D-7B7B-CE42-9677-15C45E0B7E51}"/>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grpSp>
        <p:nvGrpSpPr>
          <p:cNvPr id="57" name="Группа 56">
            <a:extLst>
              <a:ext uri="{FF2B5EF4-FFF2-40B4-BE49-F238E27FC236}">
                <a16:creationId xmlns:a16="http://schemas.microsoft.com/office/drawing/2014/main" id="{AEB9AA03-C67F-4C49-A467-C7350AE70F66}"/>
              </a:ext>
            </a:extLst>
          </p:cNvPr>
          <p:cNvGrpSpPr/>
          <p:nvPr userDrawn="1"/>
        </p:nvGrpSpPr>
        <p:grpSpPr>
          <a:xfrm>
            <a:off x="0" y="-7200"/>
            <a:ext cx="2148770" cy="553998"/>
            <a:chOff x="0" y="11193"/>
            <a:chExt cx="2148770" cy="553998"/>
          </a:xfrm>
        </p:grpSpPr>
        <p:sp>
          <p:nvSpPr>
            <p:cNvPr id="58" name="Прямоугольник 57">
              <a:extLst>
                <a:ext uri="{FF2B5EF4-FFF2-40B4-BE49-F238E27FC236}">
                  <a16:creationId xmlns:a16="http://schemas.microsoft.com/office/drawing/2014/main" id="{E9F901A4-D06C-5B49-A7D5-11912476F437}"/>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 name="TextBox 58">
              <a:extLst>
                <a:ext uri="{FF2B5EF4-FFF2-40B4-BE49-F238E27FC236}">
                  <a16:creationId xmlns:a16="http://schemas.microsoft.com/office/drawing/2014/main" id="{255E3E25-54AA-0946-9006-A5F0DB72EDC1}"/>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60" name="TextBox 59">
              <a:extLst>
                <a:ext uri="{FF2B5EF4-FFF2-40B4-BE49-F238E27FC236}">
                  <a16:creationId xmlns:a16="http://schemas.microsoft.com/office/drawing/2014/main" id="{0DDF0DAF-A7A0-9548-9A69-55ACB13BED68}"/>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62" name="Прямоугольник 61">
            <a:extLst>
              <a:ext uri="{FF2B5EF4-FFF2-40B4-BE49-F238E27FC236}">
                <a16:creationId xmlns:a16="http://schemas.microsoft.com/office/drawing/2014/main" id="{3DAF813C-049E-7C4E-BA9C-3BA22F220F90}"/>
              </a:ext>
            </a:extLst>
          </p:cNvPr>
          <p:cNvSpPr/>
          <p:nvPr userDrawn="1"/>
        </p:nvSpPr>
        <p:spPr>
          <a:xfrm>
            <a:off x="0" y="313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3" name="TextBox 62">
            <a:extLst>
              <a:ext uri="{FF2B5EF4-FFF2-40B4-BE49-F238E27FC236}">
                <a16:creationId xmlns:a16="http://schemas.microsoft.com/office/drawing/2014/main" id="{F645EB29-CF73-6F40-8C31-8ED18C2A5DFC}"/>
              </a:ext>
            </a:extLst>
          </p:cNvPr>
          <p:cNvSpPr txBox="1"/>
          <p:nvPr userDrawn="1"/>
        </p:nvSpPr>
        <p:spPr>
          <a:xfrm>
            <a:off x="604489" y="32325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64" name="Рисунок 63">
            <a:extLst>
              <a:ext uri="{FF2B5EF4-FFF2-40B4-BE49-F238E27FC236}">
                <a16:creationId xmlns:a16="http://schemas.microsoft.com/office/drawing/2014/main" id="{5ECE37BF-330B-7843-8F9E-4A439DE2F57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3204000"/>
            <a:ext cx="288000" cy="288000"/>
          </a:xfrm>
          <a:prstGeom prst="rect">
            <a:avLst/>
          </a:prstGeom>
        </p:spPr>
      </p:pic>
      <p:sp>
        <p:nvSpPr>
          <p:cNvPr id="65" name="Прямоугольник 64">
            <a:extLst>
              <a:ext uri="{FF2B5EF4-FFF2-40B4-BE49-F238E27FC236}">
                <a16:creationId xmlns:a16="http://schemas.microsoft.com/office/drawing/2014/main" id="{D3EC034A-EE51-F840-8DAB-31295FFBB307}"/>
              </a:ext>
            </a:extLst>
          </p:cNvPr>
          <p:cNvSpPr/>
          <p:nvPr userDrawn="1"/>
        </p:nvSpPr>
        <p:spPr>
          <a:xfrm>
            <a:off x="0" y="270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 name="TextBox 65">
            <a:extLst>
              <a:ext uri="{FF2B5EF4-FFF2-40B4-BE49-F238E27FC236}">
                <a16:creationId xmlns:a16="http://schemas.microsoft.com/office/drawing/2014/main" id="{6F859796-A85A-2C4C-8787-6B4BC22904F0}"/>
              </a:ext>
            </a:extLst>
          </p:cNvPr>
          <p:cNvSpPr txBox="1"/>
          <p:nvPr userDrawn="1"/>
        </p:nvSpPr>
        <p:spPr>
          <a:xfrm>
            <a:off x="604489" y="28005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67" name="Рисунок 66">
            <a:extLst>
              <a:ext uri="{FF2B5EF4-FFF2-40B4-BE49-F238E27FC236}">
                <a16:creationId xmlns:a16="http://schemas.microsoft.com/office/drawing/2014/main" id="{E2F73188-F50B-3B4D-A474-49B427F981A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9271" y="2772000"/>
            <a:ext cx="288000" cy="288000"/>
          </a:xfrm>
          <a:prstGeom prst="rect">
            <a:avLst/>
          </a:prstGeom>
        </p:spPr>
      </p:pic>
      <p:sp>
        <p:nvSpPr>
          <p:cNvPr id="68" name="Прямоугольник 67">
            <a:extLst>
              <a:ext uri="{FF2B5EF4-FFF2-40B4-BE49-F238E27FC236}">
                <a16:creationId xmlns:a16="http://schemas.microsoft.com/office/drawing/2014/main" id="{10908FF4-6CF8-7140-A39D-EE986E311588}"/>
              </a:ext>
            </a:extLst>
          </p:cNvPr>
          <p:cNvSpPr/>
          <p:nvPr userDrawn="1"/>
        </p:nvSpPr>
        <p:spPr>
          <a:xfrm>
            <a:off x="0" y="226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 name="TextBox 68">
            <a:extLst>
              <a:ext uri="{FF2B5EF4-FFF2-40B4-BE49-F238E27FC236}">
                <a16:creationId xmlns:a16="http://schemas.microsoft.com/office/drawing/2014/main" id="{54DFC96C-407F-6B46-8B7B-612D03252815}"/>
              </a:ext>
            </a:extLst>
          </p:cNvPr>
          <p:cNvSpPr txBox="1"/>
          <p:nvPr userDrawn="1"/>
        </p:nvSpPr>
        <p:spPr>
          <a:xfrm>
            <a:off x="604489" y="22993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70" name="Рисунок 69">
            <a:extLst>
              <a:ext uri="{FF2B5EF4-FFF2-40B4-BE49-F238E27FC236}">
                <a16:creationId xmlns:a16="http://schemas.microsoft.com/office/drawing/2014/main" id="{7787A5A7-6B17-0D41-88C9-ECBED0EFD8C1}"/>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69271" y="2340000"/>
            <a:ext cx="288000" cy="288000"/>
          </a:xfrm>
          <a:prstGeom prst="rect">
            <a:avLst/>
          </a:prstGeom>
        </p:spPr>
      </p:pic>
      <p:sp>
        <p:nvSpPr>
          <p:cNvPr id="71" name="Прямоугольник 70">
            <a:extLst>
              <a:ext uri="{FF2B5EF4-FFF2-40B4-BE49-F238E27FC236}">
                <a16:creationId xmlns:a16="http://schemas.microsoft.com/office/drawing/2014/main" id="{FC2D9986-7196-6F4A-94E5-08ACDF49AC30}"/>
              </a:ext>
            </a:extLst>
          </p:cNvPr>
          <p:cNvSpPr/>
          <p:nvPr userDrawn="1"/>
        </p:nvSpPr>
        <p:spPr>
          <a:xfrm>
            <a:off x="0" y="183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 name="TextBox 71">
            <a:extLst>
              <a:ext uri="{FF2B5EF4-FFF2-40B4-BE49-F238E27FC236}">
                <a16:creationId xmlns:a16="http://schemas.microsoft.com/office/drawing/2014/main" id="{AE8AEDD7-63D2-944F-9693-6984D9E67FB8}"/>
              </a:ext>
            </a:extLst>
          </p:cNvPr>
          <p:cNvSpPr txBox="1"/>
          <p:nvPr userDrawn="1"/>
        </p:nvSpPr>
        <p:spPr>
          <a:xfrm>
            <a:off x="604489" y="18673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73" name="Рисунок 72">
            <a:extLst>
              <a:ext uri="{FF2B5EF4-FFF2-40B4-BE49-F238E27FC236}">
                <a16:creationId xmlns:a16="http://schemas.microsoft.com/office/drawing/2014/main" id="{E5635579-B3E2-E84A-8813-C38A647401AA}"/>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169271" y="1908000"/>
            <a:ext cx="288000" cy="288000"/>
          </a:xfrm>
          <a:prstGeom prst="rect">
            <a:avLst/>
          </a:prstGeom>
        </p:spPr>
      </p:pic>
      <p:sp>
        <p:nvSpPr>
          <p:cNvPr id="74" name="Прямоугольник 73">
            <a:extLst>
              <a:ext uri="{FF2B5EF4-FFF2-40B4-BE49-F238E27FC236}">
                <a16:creationId xmlns:a16="http://schemas.microsoft.com/office/drawing/2014/main" id="{9E8A4140-4E20-0F4B-86D3-BF98DC0322CE}"/>
              </a:ext>
            </a:extLst>
          </p:cNvPr>
          <p:cNvSpPr/>
          <p:nvPr userDrawn="1"/>
        </p:nvSpPr>
        <p:spPr>
          <a:xfrm>
            <a:off x="0" y="442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 name="TextBox 74">
            <a:extLst>
              <a:ext uri="{FF2B5EF4-FFF2-40B4-BE49-F238E27FC236}">
                <a16:creationId xmlns:a16="http://schemas.microsoft.com/office/drawing/2014/main" id="{36C20C6E-CE21-544D-AC18-02C272A1CB81}"/>
              </a:ext>
            </a:extLst>
          </p:cNvPr>
          <p:cNvSpPr txBox="1"/>
          <p:nvPr userDrawn="1"/>
        </p:nvSpPr>
        <p:spPr>
          <a:xfrm>
            <a:off x="604489" y="45285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76" name="Рисунок 75">
            <a:extLst>
              <a:ext uri="{FF2B5EF4-FFF2-40B4-BE49-F238E27FC236}">
                <a16:creationId xmlns:a16="http://schemas.microsoft.com/office/drawing/2014/main" id="{7525EA5B-BA25-8C4E-8381-39D1B672F0CC}"/>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69271" y="4500000"/>
            <a:ext cx="288000" cy="288000"/>
          </a:xfrm>
          <a:prstGeom prst="rect">
            <a:avLst/>
          </a:prstGeom>
        </p:spPr>
      </p:pic>
      <p:sp>
        <p:nvSpPr>
          <p:cNvPr id="80" name="Прямоугольник 79">
            <a:extLst>
              <a:ext uri="{FF2B5EF4-FFF2-40B4-BE49-F238E27FC236}">
                <a16:creationId xmlns:a16="http://schemas.microsoft.com/office/drawing/2014/main" id="{269F2883-6620-A04F-B070-B3E3F2B53689}"/>
              </a:ext>
            </a:extLst>
          </p:cNvPr>
          <p:cNvSpPr/>
          <p:nvPr userDrawn="1"/>
        </p:nvSpPr>
        <p:spPr>
          <a:xfrm>
            <a:off x="0" y="399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 name="TextBox 80">
            <a:extLst>
              <a:ext uri="{FF2B5EF4-FFF2-40B4-BE49-F238E27FC236}">
                <a16:creationId xmlns:a16="http://schemas.microsoft.com/office/drawing/2014/main" id="{1DCB1731-C13F-044B-BC0A-FC73796641A2}"/>
              </a:ext>
            </a:extLst>
          </p:cNvPr>
          <p:cNvSpPr txBox="1"/>
          <p:nvPr userDrawn="1"/>
        </p:nvSpPr>
        <p:spPr>
          <a:xfrm>
            <a:off x="604489" y="40965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82" name="Рисунок 81">
            <a:extLst>
              <a:ext uri="{FF2B5EF4-FFF2-40B4-BE49-F238E27FC236}">
                <a16:creationId xmlns:a16="http://schemas.microsoft.com/office/drawing/2014/main" id="{FA685393-470B-E243-AC88-A89359FE2E6B}"/>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69271" y="4068000"/>
            <a:ext cx="288000" cy="288000"/>
          </a:xfrm>
          <a:prstGeom prst="rect">
            <a:avLst/>
          </a:prstGeom>
        </p:spPr>
      </p:pic>
      <p:sp>
        <p:nvSpPr>
          <p:cNvPr id="83" name="Прямоугольник 82">
            <a:extLst>
              <a:ext uri="{FF2B5EF4-FFF2-40B4-BE49-F238E27FC236}">
                <a16:creationId xmlns:a16="http://schemas.microsoft.com/office/drawing/2014/main" id="{6D012497-03A2-FA4D-AC60-F34CAC9A83F3}"/>
              </a:ext>
            </a:extLst>
          </p:cNvPr>
          <p:cNvSpPr/>
          <p:nvPr userDrawn="1"/>
        </p:nvSpPr>
        <p:spPr>
          <a:xfrm>
            <a:off x="0" y="97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 name="TextBox 83">
            <a:extLst>
              <a:ext uri="{FF2B5EF4-FFF2-40B4-BE49-F238E27FC236}">
                <a16:creationId xmlns:a16="http://schemas.microsoft.com/office/drawing/2014/main" id="{20BE37FC-D144-F845-BAEF-F17E2DB59E1F}"/>
              </a:ext>
            </a:extLst>
          </p:cNvPr>
          <p:cNvSpPr txBox="1"/>
          <p:nvPr userDrawn="1"/>
        </p:nvSpPr>
        <p:spPr>
          <a:xfrm>
            <a:off x="604489" y="10725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85" name="Рисунок 84">
            <a:extLst>
              <a:ext uri="{FF2B5EF4-FFF2-40B4-BE49-F238E27FC236}">
                <a16:creationId xmlns:a16="http://schemas.microsoft.com/office/drawing/2014/main" id="{99E12506-A0D4-DD4F-80BB-36E2056F79DC}"/>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69271" y="1044000"/>
            <a:ext cx="288000" cy="288000"/>
          </a:xfrm>
          <a:prstGeom prst="rect">
            <a:avLst/>
          </a:prstGeom>
        </p:spPr>
      </p:pic>
      <p:sp>
        <p:nvSpPr>
          <p:cNvPr id="86" name="Прямоугольник 85">
            <a:extLst>
              <a:ext uri="{FF2B5EF4-FFF2-40B4-BE49-F238E27FC236}">
                <a16:creationId xmlns:a16="http://schemas.microsoft.com/office/drawing/2014/main" id="{6EDA0061-54E4-6147-9FAD-70B1F14DF0EE}"/>
              </a:ext>
            </a:extLst>
          </p:cNvPr>
          <p:cNvSpPr/>
          <p:nvPr userDrawn="1"/>
        </p:nvSpPr>
        <p:spPr>
          <a:xfrm>
            <a:off x="0" y="486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 name="TextBox 86">
            <a:extLst>
              <a:ext uri="{FF2B5EF4-FFF2-40B4-BE49-F238E27FC236}">
                <a16:creationId xmlns:a16="http://schemas.microsoft.com/office/drawing/2014/main" id="{632DC11B-85E8-D346-B0E3-F490FE2499FA}"/>
              </a:ext>
            </a:extLst>
          </p:cNvPr>
          <p:cNvSpPr txBox="1"/>
          <p:nvPr userDrawn="1"/>
        </p:nvSpPr>
        <p:spPr>
          <a:xfrm>
            <a:off x="604489" y="49605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88" name="Рисунок 87">
            <a:extLst>
              <a:ext uri="{FF2B5EF4-FFF2-40B4-BE49-F238E27FC236}">
                <a16:creationId xmlns:a16="http://schemas.microsoft.com/office/drawing/2014/main" id="{1E07DEB1-4527-5A49-9127-4F8EB6658E66}"/>
              </a:ext>
            </a:extLst>
          </p:cNvPr>
          <p:cNvPicPr>
            <a:picLocks noChangeAspect="1"/>
          </p:cNvPicPr>
          <p:nvPr userDrawn="1"/>
        </p:nvPicPr>
        <p:blipFill>
          <a:blip r:embed="rId9" cstate="hqprint">
            <a:extLst>
              <a:ext uri="{28A0092B-C50C-407E-A947-70E740481C1C}">
                <a14:useLocalDpi xmlns:a14="http://schemas.microsoft.com/office/drawing/2010/main" val="0"/>
              </a:ext>
            </a:extLst>
          </a:blip>
          <a:stretch>
            <a:fillRect/>
          </a:stretch>
        </p:blipFill>
        <p:spPr>
          <a:xfrm>
            <a:off x="169271" y="4932000"/>
            <a:ext cx="288000" cy="288000"/>
          </a:xfrm>
          <a:prstGeom prst="rect">
            <a:avLst/>
          </a:prstGeom>
        </p:spPr>
      </p:pic>
      <p:sp>
        <p:nvSpPr>
          <p:cNvPr id="89" name="Прямоугольник 88">
            <a:extLst>
              <a:ext uri="{FF2B5EF4-FFF2-40B4-BE49-F238E27FC236}">
                <a16:creationId xmlns:a16="http://schemas.microsoft.com/office/drawing/2014/main" id="{7CC83E88-7784-524D-8522-22CEAFA0A234}"/>
              </a:ext>
            </a:extLst>
          </p:cNvPr>
          <p:cNvSpPr/>
          <p:nvPr userDrawn="1"/>
        </p:nvSpPr>
        <p:spPr>
          <a:xfrm>
            <a:off x="0" y="140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3" name="TextBox 102">
            <a:extLst>
              <a:ext uri="{FF2B5EF4-FFF2-40B4-BE49-F238E27FC236}">
                <a16:creationId xmlns:a16="http://schemas.microsoft.com/office/drawing/2014/main" id="{5CA7542D-6FEA-0341-874B-50898F2B3009}"/>
              </a:ext>
            </a:extLst>
          </p:cNvPr>
          <p:cNvSpPr txBox="1"/>
          <p:nvPr userDrawn="1"/>
        </p:nvSpPr>
        <p:spPr>
          <a:xfrm>
            <a:off x="604489" y="15045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104" name="Рисунок 103">
            <a:extLst>
              <a:ext uri="{FF2B5EF4-FFF2-40B4-BE49-F238E27FC236}">
                <a16:creationId xmlns:a16="http://schemas.microsoft.com/office/drawing/2014/main" id="{2D2798E8-1A91-1E42-9B4D-8F35FF4D986C}"/>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69270" y="1476000"/>
            <a:ext cx="288000" cy="288000"/>
          </a:xfrm>
          <a:prstGeom prst="rect">
            <a:avLst/>
          </a:prstGeom>
        </p:spPr>
      </p:pic>
      <p:sp>
        <p:nvSpPr>
          <p:cNvPr id="105" name="Прямоугольник 104">
            <a:extLst>
              <a:ext uri="{FF2B5EF4-FFF2-40B4-BE49-F238E27FC236}">
                <a16:creationId xmlns:a16="http://schemas.microsoft.com/office/drawing/2014/main" id="{C3230ED5-8618-434F-A316-9A6AB636D05E}"/>
              </a:ext>
            </a:extLst>
          </p:cNvPr>
          <p:cNvSpPr/>
          <p:nvPr userDrawn="1"/>
        </p:nvSpPr>
        <p:spPr>
          <a:xfrm>
            <a:off x="0" y="529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8" name="TextBox 107">
            <a:extLst>
              <a:ext uri="{FF2B5EF4-FFF2-40B4-BE49-F238E27FC236}">
                <a16:creationId xmlns:a16="http://schemas.microsoft.com/office/drawing/2014/main" id="{6EB954CB-4F05-D440-8BD0-5939F7C996D0}"/>
              </a:ext>
            </a:extLst>
          </p:cNvPr>
          <p:cNvSpPr txBox="1"/>
          <p:nvPr userDrawn="1"/>
        </p:nvSpPr>
        <p:spPr>
          <a:xfrm>
            <a:off x="604489" y="53925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109" name="Рисунок 108">
            <a:extLst>
              <a:ext uri="{FF2B5EF4-FFF2-40B4-BE49-F238E27FC236}">
                <a16:creationId xmlns:a16="http://schemas.microsoft.com/office/drawing/2014/main" id="{439925EA-EA35-8D4F-9404-3D09E9F44B66}"/>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69270" y="5364000"/>
            <a:ext cx="288000" cy="288000"/>
          </a:xfrm>
          <a:prstGeom prst="rect">
            <a:avLst/>
          </a:prstGeom>
        </p:spPr>
      </p:pic>
      <p:sp>
        <p:nvSpPr>
          <p:cNvPr id="110" name="Прямоугольник 109">
            <a:extLst>
              <a:ext uri="{FF2B5EF4-FFF2-40B4-BE49-F238E27FC236}">
                <a16:creationId xmlns:a16="http://schemas.microsoft.com/office/drawing/2014/main" id="{8293CB9F-6534-D04B-8F89-385009CF4941}"/>
              </a:ext>
            </a:extLst>
          </p:cNvPr>
          <p:cNvSpPr/>
          <p:nvPr userDrawn="1"/>
        </p:nvSpPr>
        <p:spPr>
          <a:xfrm>
            <a:off x="0" y="54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1" name="TextBox 110">
            <a:extLst>
              <a:ext uri="{FF2B5EF4-FFF2-40B4-BE49-F238E27FC236}">
                <a16:creationId xmlns:a16="http://schemas.microsoft.com/office/drawing/2014/main" id="{6DB5FFA6-B31E-A64A-BD4F-574F388CF8B0}"/>
              </a:ext>
            </a:extLst>
          </p:cNvPr>
          <p:cNvSpPr txBox="1"/>
          <p:nvPr userDrawn="1"/>
        </p:nvSpPr>
        <p:spPr>
          <a:xfrm>
            <a:off x="604489" y="6405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112" name="Рисунок 111">
            <a:extLst>
              <a:ext uri="{FF2B5EF4-FFF2-40B4-BE49-F238E27FC236}">
                <a16:creationId xmlns:a16="http://schemas.microsoft.com/office/drawing/2014/main" id="{CB95C2AE-4550-4C4B-89CD-4FE06835C105}"/>
              </a:ext>
            </a:extLst>
          </p:cNvPr>
          <p:cNvPicPr>
            <a:picLocks noChangeAspect="1"/>
          </p:cNvPicPr>
          <p:nvPr userDrawn="1"/>
        </p:nvPicPr>
        <p:blipFill>
          <a:blip r:embed="rId12" cstate="hqprint">
            <a:extLst>
              <a:ext uri="{28A0092B-C50C-407E-A947-70E740481C1C}">
                <a14:useLocalDpi xmlns:a14="http://schemas.microsoft.com/office/drawing/2010/main" val="0"/>
              </a:ext>
            </a:extLst>
          </a:blip>
          <a:stretch>
            <a:fillRect/>
          </a:stretch>
        </p:blipFill>
        <p:spPr>
          <a:xfrm>
            <a:off x="169271" y="612000"/>
            <a:ext cx="288000" cy="288000"/>
          </a:xfrm>
          <a:prstGeom prst="rect">
            <a:avLst/>
          </a:prstGeom>
        </p:spPr>
      </p:pic>
      <p:sp>
        <p:nvSpPr>
          <p:cNvPr id="113" name="Прямоугольник 112">
            <a:extLst>
              <a:ext uri="{FF2B5EF4-FFF2-40B4-BE49-F238E27FC236}">
                <a16:creationId xmlns:a16="http://schemas.microsoft.com/office/drawing/2014/main" id="{C9B623ED-4908-EE48-86D7-F15BAB8A986C}"/>
              </a:ext>
            </a:extLst>
          </p:cNvPr>
          <p:cNvSpPr/>
          <p:nvPr userDrawn="1"/>
        </p:nvSpPr>
        <p:spPr>
          <a:xfrm>
            <a:off x="0" y="572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4" name="TextBox 113">
            <a:extLst>
              <a:ext uri="{FF2B5EF4-FFF2-40B4-BE49-F238E27FC236}">
                <a16:creationId xmlns:a16="http://schemas.microsoft.com/office/drawing/2014/main" id="{9303BDFE-F0E4-9544-B95B-1A177FB903EC}"/>
              </a:ext>
            </a:extLst>
          </p:cNvPr>
          <p:cNvSpPr txBox="1"/>
          <p:nvPr userDrawn="1"/>
        </p:nvSpPr>
        <p:spPr>
          <a:xfrm>
            <a:off x="604489" y="58245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115" name="Рисунок 114">
            <a:extLst>
              <a:ext uri="{FF2B5EF4-FFF2-40B4-BE49-F238E27FC236}">
                <a16:creationId xmlns:a16="http://schemas.microsoft.com/office/drawing/2014/main" id="{4A49ABF8-3FD3-684A-84DE-33B5A5E8CD59}"/>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69271" y="5796000"/>
            <a:ext cx="288000" cy="288000"/>
          </a:xfrm>
          <a:prstGeom prst="rect">
            <a:avLst/>
          </a:prstGeom>
        </p:spPr>
      </p:pic>
      <p:sp>
        <p:nvSpPr>
          <p:cNvPr id="116" name="Прямоугольник 115">
            <a:extLst>
              <a:ext uri="{FF2B5EF4-FFF2-40B4-BE49-F238E27FC236}">
                <a16:creationId xmlns:a16="http://schemas.microsoft.com/office/drawing/2014/main" id="{A1EA0194-D586-EC4F-B7B7-849E4E4018C3}"/>
              </a:ext>
            </a:extLst>
          </p:cNvPr>
          <p:cNvSpPr/>
          <p:nvPr userDrawn="1"/>
        </p:nvSpPr>
        <p:spPr>
          <a:xfrm>
            <a:off x="0" y="615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7" name="TextBox 116">
            <a:extLst>
              <a:ext uri="{FF2B5EF4-FFF2-40B4-BE49-F238E27FC236}">
                <a16:creationId xmlns:a16="http://schemas.microsoft.com/office/drawing/2014/main" id="{B9E07F0B-4DE8-E04E-B243-5D80B447F014}"/>
              </a:ext>
            </a:extLst>
          </p:cNvPr>
          <p:cNvSpPr txBox="1"/>
          <p:nvPr userDrawn="1"/>
        </p:nvSpPr>
        <p:spPr>
          <a:xfrm>
            <a:off x="604489" y="62565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118" name="Рисунок 117">
            <a:extLst>
              <a:ext uri="{FF2B5EF4-FFF2-40B4-BE49-F238E27FC236}">
                <a16:creationId xmlns:a16="http://schemas.microsoft.com/office/drawing/2014/main" id="{F8ED6556-3035-FF4F-903B-C7FF124ABC9D}"/>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6228000"/>
            <a:ext cx="288000" cy="288000"/>
          </a:xfrm>
          <a:prstGeom prst="rect">
            <a:avLst/>
          </a:prstGeom>
        </p:spPr>
      </p:pic>
      <p:sp>
        <p:nvSpPr>
          <p:cNvPr id="136" name="Прямоугольник 135">
            <a:extLst>
              <a:ext uri="{FF2B5EF4-FFF2-40B4-BE49-F238E27FC236}">
                <a16:creationId xmlns:a16="http://schemas.microsoft.com/office/drawing/2014/main" id="{D8B42A99-9082-7442-A2A4-B0776AB9F6BE}"/>
              </a:ext>
            </a:extLst>
          </p:cNvPr>
          <p:cNvSpPr/>
          <p:nvPr userDrawn="1"/>
        </p:nvSpPr>
        <p:spPr>
          <a:xfrm>
            <a:off x="0" y="35640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7" name="TextBox 136">
            <a:extLst>
              <a:ext uri="{FF2B5EF4-FFF2-40B4-BE49-F238E27FC236}">
                <a16:creationId xmlns:a16="http://schemas.microsoft.com/office/drawing/2014/main" id="{AD0AD8B4-7729-A34A-A1C4-DD9CD2637F9D}"/>
              </a:ext>
            </a:extLst>
          </p:cNvPr>
          <p:cNvSpPr txBox="1"/>
          <p:nvPr userDrawn="1"/>
        </p:nvSpPr>
        <p:spPr>
          <a:xfrm>
            <a:off x="604489" y="3664584"/>
            <a:ext cx="1439290" cy="230832"/>
          </a:xfrm>
          <a:prstGeom prst="rect">
            <a:avLst/>
          </a:prstGeom>
          <a:noFill/>
        </p:spPr>
        <p:txBody>
          <a:bodyPr wrap="square" rtlCol="0" anchor="ctr">
            <a:spAutoFit/>
          </a:bodyPr>
          <a:lstStyle/>
          <a:p>
            <a:r>
              <a:rPr lang="ru-RU" sz="900" b="1" dirty="0">
                <a:solidFill>
                  <a:schemeClr val="bg1"/>
                </a:solidFill>
              </a:rPr>
              <a:t>Риски банковской книги</a:t>
            </a:r>
          </a:p>
        </p:txBody>
      </p:sp>
      <p:pic>
        <p:nvPicPr>
          <p:cNvPr id="139" name="Рисунок 138">
            <a:extLst>
              <a:ext uri="{FF2B5EF4-FFF2-40B4-BE49-F238E27FC236}">
                <a16:creationId xmlns:a16="http://schemas.microsoft.com/office/drawing/2014/main" id="{0351012D-5C43-AD41-A3DB-78D00F665180}"/>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171523" y="3636000"/>
            <a:ext cx="288000" cy="288000"/>
          </a:xfrm>
          <a:prstGeom prst="rect">
            <a:avLst/>
          </a:prstGeom>
        </p:spPr>
      </p:pic>
      <p:sp>
        <p:nvSpPr>
          <p:cNvPr id="53" name="Прямоугольник 52">
            <a:extLst>
              <a:ext uri="{FF2B5EF4-FFF2-40B4-BE49-F238E27FC236}">
                <a16:creationId xmlns:a16="http://schemas.microsoft.com/office/drawing/2014/main" id="{6E0E23FB-CF49-1043-A060-4E08E0B12E54}"/>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4" name="Рисунок 53">
            <a:extLst>
              <a:ext uri="{FF2B5EF4-FFF2-40B4-BE49-F238E27FC236}">
                <a16:creationId xmlns:a16="http://schemas.microsoft.com/office/drawing/2014/main" id="{CF70038F-96A2-4948-9780-9AA95367092E}"/>
              </a:ext>
            </a:extLst>
          </p:cNvPr>
          <p:cNvPicPr>
            <a:picLocks noChangeAspect="1"/>
          </p:cNvPicPr>
          <p:nvPr userDrawn="1"/>
        </p:nvPicPr>
        <p:blipFill rotWithShape="1">
          <a:blip r:embed="rId16"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pic>
        <p:nvPicPr>
          <p:cNvPr id="2" name="Рисунок 1"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3" name="Рисунок 2"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spTree>
    <p:extLst>
      <p:ext uri="{BB962C8B-B14F-4D97-AF65-F5344CB8AC3E}">
        <p14:creationId xmlns:p14="http://schemas.microsoft.com/office/powerpoint/2010/main" val="66391129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0_Операционный риск">
    <p:spTree>
      <p:nvGrpSpPr>
        <p:cNvPr id="1" name=""/>
        <p:cNvGrpSpPr/>
        <p:nvPr/>
      </p:nvGrpSpPr>
      <p:grpSpPr>
        <a:xfrm>
          <a:off x="0" y="0"/>
          <a:ext cx="0" cy="0"/>
          <a:chOff x="0" y="0"/>
          <a:chExt cx="0" cy="0"/>
        </a:xfrm>
      </p:grpSpPr>
      <p:sp>
        <p:nvSpPr>
          <p:cNvPr id="37" name="Прямоугольник 36">
            <a:extLst>
              <a:ext uri="{FF2B5EF4-FFF2-40B4-BE49-F238E27FC236}">
                <a16:creationId xmlns:a16="http://schemas.microsoft.com/office/drawing/2014/main" id="{E9C31441-7FC4-4A4B-AE01-2068FD2A6E7E}"/>
              </a:ext>
            </a:extLst>
          </p:cNvPr>
          <p:cNvSpPr/>
          <p:nvPr userDrawn="1"/>
        </p:nvSpPr>
        <p:spPr>
          <a:xfrm>
            <a:off x="2135560" y="1"/>
            <a:ext cx="1006719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Title 1">
            <a:extLst>
              <a:ext uri="{FF2B5EF4-FFF2-40B4-BE49-F238E27FC236}">
                <a16:creationId xmlns:a16="http://schemas.microsoft.com/office/drawing/2014/main" id="{CCE1108E-E08F-6D49-9964-3B0F7493C2A1}"/>
              </a:ext>
            </a:extLst>
          </p:cNvPr>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0" name="TextBox 89">
            <a:extLst>
              <a:ext uri="{FF2B5EF4-FFF2-40B4-BE49-F238E27FC236}">
                <a16:creationId xmlns:a16="http://schemas.microsoft.com/office/drawing/2014/main" id="{8142E925-CA77-B544-BD9A-E1C6BB14A14B}"/>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grpSp>
        <p:nvGrpSpPr>
          <p:cNvPr id="57" name="Группа 56">
            <a:extLst>
              <a:ext uri="{FF2B5EF4-FFF2-40B4-BE49-F238E27FC236}">
                <a16:creationId xmlns:a16="http://schemas.microsoft.com/office/drawing/2014/main" id="{E9EC314D-D616-5242-AE09-6D30F714ED15}"/>
              </a:ext>
            </a:extLst>
          </p:cNvPr>
          <p:cNvGrpSpPr/>
          <p:nvPr userDrawn="1"/>
        </p:nvGrpSpPr>
        <p:grpSpPr>
          <a:xfrm>
            <a:off x="0" y="-7200"/>
            <a:ext cx="2148770" cy="553998"/>
            <a:chOff x="0" y="11193"/>
            <a:chExt cx="2148770" cy="553998"/>
          </a:xfrm>
        </p:grpSpPr>
        <p:sp>
          <p:nvSpPr>
            <p:cNvPr id="58" name="Прямоугольник 57">
              <a:extLst>
                <a:ext uri="{FF2B5EF4-FFF2-40B4-BE49-F238E27FC236}">
                  <a16:creationId xmlns:a16="http://schemas.microsoft.com/office/drawing/2014/main" id="{DDA2D573-1833-D74D-B1E0-341F0AB846C7}"/>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 name="TextBox 58">
              <a:extLst>
                <a:ext uri="{FF2B5EF4-FFF2-40B4-BE49-F238E27FC236}">
                  <a16:creationId xmlns:a16="http://schemas.microsoft.com/office/drawing/2014/main" id="{25A24519-AA85-1C4D-AE4C-C4B08A73D295}"/>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60" name="TextBox 59">
              <a:extLst>
                <a:ext uri="{FF2B5EF4-FFF2-40B4-BE49-F238E27FC236}">
                  <a16:creationId xmlns:a16="http://schemas.microsoft.com/office/drawing/2014/main" id="{0A3DAB09-6C2F-0746-8876-F91EDC660B1B}"/>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62" name="Прямоугольник 61">
            <a:extLst>
              <a:ext uri="{FF2B5EF4-FFF2-40B4-BE49-F238E27FC236}">
                <a16:creationId xmlns:a16="http://schemas.microsoft.com/office/drawing/2014/main" id="{3AE2A4EA-E8EB-9348-A94C-3E2E9229798C}"/>
              </a:ext>
            </a:extLst>
          </p:cNvPr>
          <p:cNvSpPr/>
          <p:nvPr userDrawn="1"/>
        </p:nvSpPr>
        <p:spPr>
          <a:xfrm>
            <a:off x="0" y="313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3" name="TextBox 62">
            <a:extLst>
              <a:ext uri="{FF2B5EF4-FFF2-40B4-BE49-F238E27FC236}">
                <a16:creationId xmlns:a16="http://schemas.microsoft.com/office/drawing/2014/main" id="{DB5A8C7F-612B-1C48-90BF-49AA6C5EB3DA}"/>
              </a:ext>
            </a:extLst>
          </p:cNvPr>
          <p:cNvSpPr txBox="1"/>
          <p:nvPr userDrawn="1"/>
        </p:nvSpPr>
        <p:spPr>
          <a:xfrm>
            <a:off x="604489" y="32325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64" name="Рисунок 63">
            <a:extLst>
              <a:ext uri="{FF2B5EF4-FFF2-40B4-BE49-F238E27FC236}">
                <a16:creationId xmlns:a16="http://schemas.microsoft.com/office/drawing/2014/main" id="{682C48FB-794F-B347-8066-A14B56E96BD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3204000"/>
            <a:ext cx="288000" cy="288000"/>
          </a:xfrm>
          <a:prstGeom prst="rect">
            <a:avLst/>
          </a:prstGeom>
        </p:spPr>
      </p:pic>
      <p:sp>
        <p:nvSpPr>
          <p:cNvPr id="65" name="Прямоугольник 64">
            <a:extLst>
              <a:ext uri="{FF2B5EF4-FFF2-40B4-BE49-F238E27FC236}">
                <a16:creationId xmlns:a16="http://schemas.microsoft.com/office/drawing/2014/main" id="{8393DD1D-E51D-574D-A6EF-3ACB8EB3B8C5}"/>
              </a:ext>
            </a:extLst>
          </p:cNvPr>
          <p:cNvSpPr/>
          <p:nvPr userDrawn="1"/>
        </p:nvSpPr>
        <p:spPr>
          <a:xfrm>
            <a:off x="0" y="270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 name="TextBox 65">
            <a:extLst>
              <a:ext uri="{FF2B5EF4-FFF2-40B4-BE49-F238E27FC236}">
                <a16:creationId xmlns:a16="http://schemas.microsoft.com/office/drawing/2014/main" id="{ACA933D7-44B0-4346-834C-21749BBF9E1C}"/>
              </a:ext>
            </a:extLst>
          </p:cNvPr>
          <p:cNvSpPr txBox="1"/>
          <p:nvPr userDrawn="1"/>
        </p:nvSpPr>
        <p:spPr>
          <a:xfrm>
            <a:off x="604489" y="28005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67" name="Рисунок 66">
            <a:extLst>
              <a:ext uri="{FF2B5EF4-FFF2-40B4-BE49-F238E27FC236}">
                <a16:creationId xmlns:a16="http://schemas.microsoft.com/office/drawing/2014/main" id="{F2FBF4CE-A550-0A4C-933D-28D6FAA54D3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9271" y="2772000"/>
            <a:ext cx="288000" cy="288000"/>
          </a:xfrm>
          <a:prstGeom prst="rect">
            <a:avLst/>
          </a:prstGeom>
        </p:spPr>
      </p:pic>
      <p:sp>
        <p:nvSpPr>
          <p:cNvPr id="68" name="Прямоугольник 67">
            <a:extLst>
              <a:ext uri="{FF2B5EF4-FFF2-40B4-BE49-F238E27FC236}">
                <a16:creationId xmlns:a16="http://schemas.microsoft.com/office/drawing/2014/main" id="{303CF636-4B75-7E41-8078-D84C0763D1AD}"/>
              </a:ext>
            </a:extLst>
          </p:cNvPr>
          <p:cNvSpPr/>
          <p:nvPr userDrawn="1"/>
        </p:nvSpPr>
        <p:spPr>
          <a:xfrm>
            <a:off x="0" y="226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 name="TextBox 68">
            <a:extLst>
              <a:ext uri="{FF2B5EF4-FFF2-40B4-BE49-F238E27FC236}">
                <a16:creationId xmlns:a16="http://schemas.microsoft.com/office/drawing/2014/main" id="{26344617-29E4-8E43-9D91-FA352AC6BAA4}"/>
              </a:ext>
            </a:extLst>
          </p:cNvPr>
          <p:cNvSpPr txBox="1"/>
          <p:nvPr userDrawn="1"/>
        </p:nvSpPr>
        <p:spPr>
          <a:xfrm>
            <a:off x="604489" y="22993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70" name="Рисунок 69">
            <a:extLst>
              <a:ext uri="{FF2B5EF4-FFF2-40B4-BE49-F238E27FC236}">
                <a16:creationId xmlns:a16="http://schemas.microsoft.com/office/drawing/2014/main" id="{9E74D18B-7351-FF4A-928E-3BB108009CF7}"/>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69271" y="2340000"/>
            <a:ext cx="288000" cy="288000"/>
          </a:xfrm>
          <a:prstGeom prst="rect">
            <a:avLst/>
          </a:prstGeom>
        </p:spPr>
      </p:pic>
      <p:sp>
        <p:nvSpPr>
          <p:cNvPr id="71" name="Прямоугольник 70">
            <a:extLst>
              <a:ext uri="{FF2B5EF4-FFF2-40B4-BE49-F238E27FC236}">
                <a16:creationId xmlns:a16="http://schemas.microsoft.com/office/drawing/2014/main" id="{4B864E8E-E913-C245-AE55-6D29E2ECD823}"/>
              </a:ext>
            </a:extLst>
          </p:cNvPr>
          <p:cNvSpPr/>
          <p:nvPr userDrawn="1"/>
        </p:nvSpPr>
        <p:spPr>
          <a:xfrm>
            <a:off x="0" y="183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 name="TextBox 71">
            <a:extLst>
              <a:ext uri="{FF2B5EF4-FFF2-40B4-BE49-F238E27FC236}">
                <a16:creationId xmlns:a16="http://schemas.microsoft.com/office/drawing/2014/main" id="{189EB07B-8D96-A04C-853B-BF94A15BF7FD}"/>
              </a:ext>
            </a:extLst>
          </p:cNvPr>
          <p:cNvSpPr txBox="1"/>
          <p:nvPr userDrawn="1"/>
        </p:nvSpPr>
        <p:spPr>
          <a:xfrm>
            <a:off x="604489" y="18673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73" name="Рисунок 72">
            <a:extLst>
              <a:ext uri="{FF2B5EF4-FFF2-40B4-BE49-F238E27FC236}">
                <a16:creationId xmlns:a16="http://schemas.microsoft.com/office/drawing/2014/main" id="{259D71A1-692C-854D-AB6F-E9AB3C0E79CD}"/>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169271" y="1908000"/>
            <a:ext cx="288000" cy="288000"/>
          </a:xfrm>
          <a:prstGeom prst="rect">
            <a:avLst/>
          </a:prstGeom>
        </p:spPr>
      </p:pic>
      <p:sp>
        <p:nvSpPr>
          <p:cNvPr id="74" name="Прямоугольник 73">
            <a:extLst>
              <a:ext uri="{FF2B5EF4-FFF2-40B4-BE49-F238E27FC236}">
                <a16:creationId xmlns:a16="http://schemas.microsoft.com/office/drawing/2014/main" id="{F74DE3F5-588D-3B47-9673-90E75D55A6CD}"/>
              </a:ext>
            </a:extLst>
          </p:cNvPr>
          <p:cNvSpPr/>
          <p:nvPr userDrawn="1"/>
        </p:nvSpPr>
        <p:spPr>
          <a:xfrm>
            <a:off x="0" y="442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 name="TextBox 74">
            <a:extLst>
              <a:ext uri="{FF2B5EF4-FFF2-40B4-BE49-F238E27FC236}">
                <a16:creationId xmlns:a16="http://schemas.microsoft.com/office/drawing/2014/main" id="{A6F93427-5A6D-514A-BB06-5D3D0AB404E9}"/>
              </a:ext>
            </a:extLst>
          </p:cNvPr>
          <p:cNvSpPr txBox="1"/>
          <p:nvPr userDrawn="1"/>
        </p:nvSpPr>
        <p:spPr>
          <a:xfrm>
            <a:off x="604489" y="45285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76" name="Рисунок 75">
            <a:extLst>
              <a:ext uri="{FF2B5EF4-FFF2-40B4-BE49-F238E27FC236}">
                <a16:creationId xmlns:a16="http://schemas.microsoft.com/office/drawing/2014/main" id="{B3E49339-BD5C-284F-8969-79024C6F77F2}"/>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69271" y="4500000"/>
            <a:ext cx="288000" cy="288000"/>
          </a:xfrm>
          <a:prstGeom prst="rect">
            <a:avLst/>
          </a:prstGeom>
        </p:spPr>
      </p:pic>
      <p:sp>
        <p:nvSpPr>
          <p:cNvPr id="77" name="Прямоугольник 76">
            <a:extLst>
              <a:ext uri="{FF2B5EF4-FFF2-40B4-BE49-F238E27FC236}">
                <a16:creationId xmlns:a16="http://schemas.microsoft.com/office/drawing/2014/main" id="{DB8D2CC8-FA76-FE42-B334-0430A7292D4D}"/>
              </a:ext>
            </a:extLst>
          </p:cNvPr>
          <p:cNvSpPr/>
          <p:nvPr userDrawn="1"/>
        </p:nvSpPr>
        <p:spPr>
          <a:xfrm>
            <a:off x="0" y="356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 name="TextBox 77">
            <a:extLst>
              <a:ext uri="{FF2B5EF4-FFF2-40B4-BE49-F238E27FC236}">
                <a16:creationId xmlns:a16="http://schemas.microsoft.com/office/drawing/2014/main" id="{58EE1E99-AE7D-344E-BBEB-974669F2E605}"/>
              </a:ext>
            </a:extLst>
          </p:cNvPr>
          <p:cNvSpPr txBox="1"/>
          <p:nvPr userDrawn="1"/>
        </p:nvSpPr>
        <p:spPr>
          <a:xfrm>
            <a:off x="604489" y="36645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79" name="Рисунок 78">
            <a:extLst>
              <a:ext uri="{FF2B5EF4-FFF2-40B4-BE49-F238E27FC236}">
                <a16:creationId xmlns:a16="http://schemas.microsoft.com/office/drawing/2014/main" id="{FE8FA1EC-C60B-1B47-96EA-BCE7E03BBB55}"/>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69271" y="3636000"/>
            <a:ext cx="288000" cy="288000"/>
          </a:xfrm>
          <a:prstGeom prst="rect">
            <a:avLst/>
          </a:prstGeom>
        </p:spPr>
      </p:pic>
      <p:sp>
        <p:nvSpPr>
          <p:cNvPr id="83" name="Прямоугольник 82">
            <a:extLst>
              <a:ext uri="{FF2B5EF4-FFF2-40B4-BE49-F238E27FC236}">
                <a16:creationId xmlns:a16="http://schemas.microsoft.com/office/drawing/2014/main" id="{9E8653EA-46BE-5C4B-8CD7-497306B2A12D}"/>
              </a:ext>
            </a:extLst>
          </p:cNvPr>
          <p:cNvSpPr/>
          <p:nvPr userDrawn="1"/>
        </p:nvSpPr>
        <p:spPr>
          <a:xfrm>
            <a:off x="0" y="97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 name="TextBox 83">
            <a:extLst>
              <a:ext uri="{FF2B5EF4-FFF2-40B4-BE49-F238E27FC236}">
                <a16:creationId xmlns:a16="http://schemas.microsoft.com/office/drawing/2014/main" id="{88AF99F8-430E-7A43-9791-9E06C324FD64}"/>
              </a:ext>
            </a:extLst>
          </p:cNvPr>
          <p:cNvSpPr txBox="1"/>
          <p:nvPr userDrawn="1"/>
        </p:nvSpPr>
        <p:spPr>
          <a:xfrm>
            <a:off x="604489" y="10725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85" name="Рисунок 84">
            <a:extLst>
              <a:ext uri="{FF2B5EF4-FFF2-40B4-BE49-F238E27FC236}">
                <a16:creationId xmlns:a16="http://schemas.microsoft.com/office/drawing/2014/main" id="{1088FF95-C4CC-6E4C-89DC-E78C0C6C4945}"/>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69271" y="1044000"/>
            <a:ext cx="288000" cy="288000"/>
          </a:xfrm>
          <a:prstGeom prst="rect">
            <a:avLst/>
          </a:prstGeom>
        </p:spPr>
      </p:pic>
      <p:sp>
        <p:nvSpPr>
          <p:cNvPr id="86" name="Прямоугольник 85">
            <a:extLst>
              <a:ext uri="{FF2B5EF4-FFF2-40B4-BE49-F238E27FC236}">
                <a16:creationId xmlns:a16="http://schemas.microsoft.com/office/drawing/2014/main" id="{F8288506-A838-5749-80F0-6D577AFE2895}"/>
              </a:ext>
            </a:extLst>
          </p:cNvPr>
          <p:cNvSpPr/>
          <p:nvPr userDrawn="1"/>
        </p:nvSpPr>
        <p:spPr>
          <a:xfrm>
            <a:off x="0" y="486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 name="TextBox 86">
            <a:extLst>
              <a:ext uri="{FF2B5EF4-FFF2-40B4-BE49-F238E27FC236}">
                <a16:creationId xmlns:a16="http://schemas.microsoft.com/office/drawing/2014/main" id="{FC7182FB-A685-8448-B0C1-C6B991C7DAF4}"/>
              </a:ext>
            </a:extLst>
          </p:cNvPr>
          <p:cNvSpPr txBox="1"/>
          <p:nvPr userDrawn="1"/>
        </p:nvSpPr>
        <p:spPr>
          <a:xfrm>
            <a:off x="604489" y="49605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88" name="Рисунок 87">
            <a:extLst>
              <a:ext uri="{FF2B5EF4-FFF2-40B4-BE49-F238E27FC236}">
                <a16:creationId xmlns:a16="http://schemas.microsoft.com/office/drawing/2014/main" id="{4B82E4B4-06F8-EC4F-B91B-A3EF5A45DD7F}"/>
              </a:ext>
            </a:extLst>
          </p:cNvPr>
          <p:cNvPicPr>
            <a:picLocks noChangeAspect="1"/>
          </p:cNvPicPr>
          <p:nvPr userDrawn="1"/>
        </p:nvPicPr>
        <p:blipFill>
          <a:blip r:embed="rId9" cstate="hqprint">
            <a:extLst>
              <a:ext uri="{28A0092B-C50C-407E-A947-70E740481C1C}">
                <a14:useLocalDpi xmlns:a14="http://schemas.microsoft.com/office/drawing/2010/main" val="0"/>
              </a:ext>
            </a:extLst>
          </a:blip>
          <a:stretch>
            <a:fillRect/>
          </a:stretch>
        </p:blipFill>
        <p:spPr>
          <a:xfrm>
            <a:off x="169271" y="4932000"/>
            <a:ext cx="288000" cy="288000"/>
          </a:xfrm>
          <a:prstGeom prst="rect">
            <a:avLst/>
          </a:prstGeom>
        </p:spPr>
      </p:pic>
      <p:sp>
        <p:nvSpPr>
          <p:cNvPr id="89" name="Прямоугольник 88">
            <a:extLst>
              <a:ext uri="{FF2B5EF4-FFF2-40B4-BE49-F238E27FC236}">
                <a16:creationId xmlns:a16="http://schemas.microsoft.com/office/drawing/2014/main" id="{3BED6FCD-AED3-7347-BAC8-7D7E331CF0D8}"/>
              </a:ext>
            </a:extLst>
          </p:cNvPr>
          <p:cNvSpPr/>
          <p:nvPr userDrawn="1"/>
        </p:nvSpPr>
        <p:spPr>
          <a:xfrm>
            <a:off x="0" y="140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3" name="TextBox 102">
            <a:extLst>
              <a:ext uri="{FF2B5EF4-FFF2-40B4-BE49-F238E27FC236}">
                <a16:creationId xmlns:a16="http://schemas.microsoft.com/office/drawing/2014/main" id="{9B608CB1-BD58-F349-9A4D-353BB4852B79}"/>
              </a:ext>
            </a:extLst>
          </p:cNvPr>
          <p:cNvSpPr txBox="1"/>
          <p:nvPr userDrawn="1"/>
        </p:nvSpPr>
        <p:spPr>
          <a:xfrm>
            <a:off x="604489" y="15045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104" name="Рисунок 103">
            <a:extLst>
              <a:ext uri="{FF2B5EF4-FFF2-40B4-BE49-F238E27FC236}">
                <a16:creationId xmlns:a16="http://schemas.microsoft.com/office/drawing/2014/main" id="{40AF5F82-FAB8-624F-B094-54898C888D45}"/>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69270" y="1476000"/>
            <a:ext cx="288000" cy="288000"/>
          </a:xfrm>
          <a:prstGeom prst="rect">
            <a:avLst/>
          </a:prstGeom>
        </p:spPr>
      </p:pic>
      <p:sp>
        <p:nvSpPr>
          <p:cNvPr id="105" name="Прямоугольник 104">
            <a:extLst>
              <a:ext uri="{FF2B5EF4-FFF2-40B4-BE49-F238E27FC236}">
                <a16:creationId xmlns:a16="http://schemas.microsoft.com/office/drawing/2014/main" id="{C4D1CBA8-BA60-C44C-9E84-87BF102D5A75}"/>
              </a:ext>
            </a:extLst>
          </p:cNvPr>
          <p:cNvSpPr/>
          <p:nvPr userDrawn="1"/>
        </p:nvSpPr>
        <p:spPr>
          <a:xfrm>
            <a:off x="0" y="529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8" name="TextBox 107">
            <a:extLst>
              <a:ext uri="{FF2B5EF4-FFF2-40B4-BE49-F238E27FC236}">
                <a16:creationId xmlns:a16="http://schemas.microsoft.com/office/drawing/2014/main" id="{DB0AD7E1-43EA-4642-9A0A-8F7230BE6EE4}"/>
              </a:ext>
            </a:extLst>
          </p:cNvPr>
          <p:cNvSpPr txBox="1"/>
          <p:nvPr userDrawn="1"/>
        </p:nvSpPr>
        <p:spPr>
          <a:xfrm>
            <a:off x="604489" y="53925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109" name="Рисунок 108">
            <a:extLst>
              <a:ext uri="{FF2B5EF4-FFF2-40B4-BE49-F238E27FC236}">
                <a16:creationId xmlns:a16="http://schemas.microsoft.com/office/drawing/2014/main" id="{C231BD2E-5D40-E14A-BFB5-BBF169E22C8F}"/>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69270" y="5364000"/>
            <a:ext cx="288000" cy="288000"/>
          </a:xfrm>
          <a:prstGeom prst="rect">
            <a:avLst/>
          </a:prstGeom>
        </p:spPr>
      </p:pic>
      <p:sp>
        <p:nvSpPr>
          <p:cNvPr id="110" name="Прямоугольник 109">
            <a:extLst>
              <a:ext uri="{FF2B5EF4-FFF2-40B4-BE49-F238E27FC236}">
                <a16:creationId xmlns:a16="http://schemas.microsoft.com/office/drawing/2014/main" id="{0DD66B27-C38C-9C40-89D3-8758745FB387}"/>
              </a:ext>
            </a:extLst>
          </p:cNvPr>
          <p:cNvSpPr/>
          <p:nvPr userDrawn="1"/>
        </p:nvSpPr>
        <p:spPr>
          <a:xfrm>
            <a:off x="0" y="54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1" name="TextBox 110">
            <a:extLst>
              <a:ext uri="{FF2B5EF4-FFF2-40B4-BE49-F238E27FC236}">
                <a16:creationId xmlns:a16="http://schemas.microsoft.com/office/drawing/2014/main" id="{0BFC4597-AEB9-B843-88D6-C28DC570D5A6}"/>
              </a:ext>
            </a:extLst>
          </p:cNvPr>
          <p:cNvSpPr txBox="1"/>
          <p:nvPr userDrawn="1"/>
        </p:nvSpPr>
        <p:spPr>
          <a:xfrm>
            <a:off x="604489" y="6405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112" name="Рисунок 111">
            <a:extLst>
              <a:ext uri="{FF2B5EF4-FFF2-40B4-BE49-F238E27FC236}">
                <a16:creationId xmlns:a16="http://schemas.microsoft.com/office/drawing/2014/main" id="{24F228E7-7490-A949-B3CD-587E93BC5C85}"/>
              </a:ext>
            </a:extLst>
          </p:cNvPr>
          <p:cNvPicPr>
            <a:picLocks noChangeAspect="1"/>
          </p:cNvPicPr>
          <p:nvPr userDrawn="1"/>
        </p:nvPicPr>
        <p:blipFill>
          <a:blip r:embed="rId12" cstate="hqprint">
            <a:extLst>
              <a:ext uri="{28A0092B-C50C-407E-A947-70E740481C1C}">
                <a14:useLocalDpi xmlns:a14="http://schemas.microsoft.com/office/drawing/2010/main" val="0"/>
              </a:ext>
            </a:extLst>
          </a:blip>
          <a:stretch>
            <a:fillRect/>
          </a:stretch>
        </p:blipFill>
        <p:spPr>
          <a:xfrm>
            <a:off x="169271" y="612000"/>
            <a:ext cx="288000" cy="288000"/>
          </a:xfrm>
          <a:prstGeom prst="rect">
            <a:avLst/>
          </a:prstGeom>
        </p:spPr>
      </p:pic>
      <p:sp>
        <p:nvSpPr>
          <p:cNvPr id="113" name="Прямоугольник 112">
            <a:extLst>
              <a:ext uri="{FF2B5EF4-FFF2-40B4-BE49-F238E27FC236}">
                <a16:creationId xmlns:a16="http://schemas.microsoft.com/office/drawing/2014/main" id="{D0F91B22-2C86-2245-B463-396CF9BA9F83}"/>
              </a:ext>
            </a:extLst>
          </p:cNvPr>
          <p:cNvSpPr/>
          <p:nvPr userDrawn="1"/>
        </p:nvSpPr>
        <p:spPr>
          <a:xfrm>
            <a:off x="0" y="572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4" name="TextBox 113">
            <a:extLst>
              <a:ext uri="{FF2B5EF4-FFF2-40B4-BE49-F238E27FC236}">
                <a16:creationId xmlns:a16="http://schemas.microsoft.com/office/drawing/2014/main" id="{B5556E0B-E6CA-AB45-939A-FA68DDE03391}"/>
              </a:ext>
            </a:extLst>
          </p:cNvPr>
          <p:cNvSpPr txBox="1"/>
          <p:nvPr userDrawn="1"/>
        </p:nvSpPr>
        <p:spPr>
          <a:xfrm>
            <a:off x="604489" y="58245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115" name="Рисунок 114">
            <a:extLst>
              <a:ext uri="{FF2B5EF4-FFF2-40B4-BE49-F238E27FC236}">
                <a16:creationId xmlns:a16="http://schemas.microsoft.com/office/drawing/2014/main" id="{274CDDEE-AF1D-264F-8DFF-43651BACFEBC}"/>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69271" y="5796000"/>
            <a:ext cx="288000" cy="288000"/>
          </a:xfrm>
          <a:prstGeom prst="rect">
            <a:avLst/>
          </a:prstGeom>
        </p:spPr>
      </p:pic>
      <p:sp>
        <p:nvSpPr>
          <p:cNvPr id="116" name="Прямоугольник 115">
            <a:extLst>
              <a:ext uri="{FF2B5EF4-FFF2-40B4-BE49-F238E27FC236}">
                <a16:creationId xmlns:a16="http://schemas.microsoft.com/office/drawing/2014/main" id="{792337D8-3D1E-1C4D-8AF1-9D9CC533ED7F}"/>
              </a:ext>
            </a:extLst>
          </p:cNvPr>
          <p:cNvSpPr/>
          <p:nvPr userDrawn="1"/>
        </p:nvSpPr>
        <p:spPr>
          <a:xfrm>
            <a:off x="0" y="615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7" name="TextBox 116">
            <a:extLst>
              <a:ext uri="{FF2B5EF4-FFF2-40B4-BE49-F238E27FC236}">
                <a16:creationId xmlns:a16="http://schemas.microsoft.com/office/drawing/2014/main" id="{9C742A40-08FD-544E-9D77-034AA3C66F00}"/>
              </a:ext>
            </a:extLst>
          </p:cNvPr>
          <p:cNvSpPr txBox="1"/>
          <p:nvPr userDrawn="1"/>
        </p:nvSpPr>
        <p:spPr>
          <a:xfrm>
            <a:off x="604489" y="62565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118" name="Рисунок 117">
            <a:extLst>
              <a:ext uri="{FF2B5EF4-FFF2-40B4-BE49-F238E27FC236}">
                <a16:creationId xmlns:a16="http://schemas.microsoft.com/office/drawing/2014/main" id="{A2BE3565-03C2-B743-97E6-79420425830E}"/>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6228000"/>
            <a:ext cx="288000" cy="288000"/>
          </a:xfrm>
          <a:prstGeom prst="rect">
            <a:avLst/>
          </a:prstGeom>
        </p:spPr>
      </p:pic>
      <p:sp>
        <p:nvSpPr>
          <p:cNvPr id="157" name="Прямоугольник 156">
            <a:extLst>
              <a:ext uri="{FF2B5EF4-FFF2-40B4-BE49-F238E27FC236}">
                <a16:creationId xmlns:a16="http://schemas.microsoft.com/office/drawing/2014/main" id="{6B17A399-05CC-B345-B826-6997E367192F}"/>
              </a:ext>
            </a:extLst>
          </p:cNvPr>
          <p:cNvSpPr/>
          <p:nvPr userDrawn="1"/>
        </p:nvSpPr>
        <p:spPr>
          <a:xfrm>
            <a:off x="0" y="39960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66" name="TextBox 165">
            <a:extLst>
              <a:ext uri="{FF2B5EF4-FFF2-40B4-BE49-F238E27FC236}">
                <a16:creationId xmlns:a16="http://schemas.microsoft.com/office/drawing/2014/main" id="{99660414-4303-B54D-A661-2504F446609B}"/>
              </a:ext>
            </a:extLst>
          </p:cNvPr>
          <p:cNvSpPr txBox="1"/>
          <p:nvPr userDrawn="1"/>
        </p:nvSpPr>
        <p:spPr>
          <a:xfrm>
            <a:off x="604489" y="4096584"/>
            <a:ext cx="1439290" cy="230832"/>
          </a:xfrm>
          <a:prstGeom prst="rect">
            <a:avLst/>
          </a:prstGeom>
          <a:noFill/>
        </p:spPr>
        <p:txBody>
          <a:bodyPr wrap="square" rtlCol="0" anchor="ctr">
            <a:spAutoFit/>
          </a:bodyPr>
          <a:lstStyle/>
          <a:p>
            <a:r>
              <a:rPr lang="en-US" sz="900" b="1" dirty="0" err="1">
                <a:solidFill>
                  <a:schemeClr val="bg1"/>
                </a:solidFill>
              </a:rPr>
              <a:t>Опер</a:t>
            </a:r>
            <a:r>
              <a:rPr lang="ru-RU" sz="900" b="1" dirty="0" err="1">
                <a:solidFill>
                  <a:schemeClr val="bg1"/>
                </a:solidFill>
              </a:rPr>
              <a:t>ационный</a:t>
            </a:r>
            <a:r>
              <a:rPr lang="ru-RU" sz="900" b="1" dirty="0">
                <a:solidFill>
                  <a:schemeClr val="bg1"/>
                </a:solidFill>
              </a:rPr>
              <a:t> риск</a:t>
            </a:r>
          </a:p>
        </p:txBody>
      </p:sp>
      <p:pic>
        <p:nvPicPr>
          <p:cNvPr id="167" name="Рисунок 166">
            <a:extLst>
              <a:ext uri="{FF2B5EF4-FFF2-40B4-BE49-F238E27FC236}">
                <a16:creationId xmlns:a16="http://schemas.microsoft.com/office/drawing/2014/main" id="{B4BD463B-56FD-034E-9BEF-13D9992666DD}"/>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171523" y="4068000"/>
            <a:ext cx="288000" cy="288000"/>
          </a:xfrm>
          <a:prstGeom prst="rect">
            <a:avLst/>
          </a:prstGeom>
        </p:spPr>
      </p:pic>
      <p:sp>
        <p:nvSpPr>
          <p:cNvPr id="53" name="Прямоугольник 52">
            <a:extLst>
              <a:ext uri="{FF2B5EF4-FFF2-40B4-BE49-F238E27FC236}">
                <a16:creationId xmlns:a16="http://schemas.microsoft.com/office/drawing/2014/main" id="{AEA645F3-476C-BF45-88FF-38737F83D39A}"/>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4" name="Рисунок 53">
            <a:extLst>
              <a:ext uri="{FF2B5EF4-FFF2-40B4-BE49-F238E27FC236}">
                <a16:creationId xmlns:a16="http://schemas.microsoft.com/office/drawing/2014/main" id="{899A8571-728B-6F4E-8C6A-B780FEBB36F2}"/>
              </a:ext>
            </a:extLst>
          </p:cNvPr>
          <p:cNvPicPr>
            <a:picLocks noChangeAspect="1"/>
          </p:cNvPicPr>
          <p:nvPr userDrawn="1"/>
        </p:nvPicPr>
        <p:blipFill rotWithShape="1">
          <a:blip r:embed="rId16"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pic>
        <p:nvPicPr>
          <p:cNvPr id="4" name="Рисунок 3"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2" name="Рисунок 1"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spTree>
    <p:extLst>
      <p:ext uri="{BB962C8B-B14F-4D97-AF65-F5344CB8AC3E}">
        <p14:creationId xmlns:p14="http://schemas.microsoft.com/office/powerpoint/2010/main" val="235771707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1_Технориск">
    <p:spTree>
      <p:nvGrpSpPr>
        <p:cNvPr id="1" name=""/>
        <p:cNvGrpSpPr/>
        <p:nvPr/>
      </p:nvGrpSpPr>
      <p:grpSpPr>
        <a:xfrm>
          <a:off x="0" y="0"/>
          <a:ext cx="0" cy="0"/>
          <a:chOff x="0" y="0"/>
          <a:chExt cx="0" cy="0"/>
        </a:xfrm>
      </p:grpSpPr>
      <p:sp>
        <p:nvSpPr>
          <p:cNvPr id="37" name="Прямоугольник 36">
            <a:extLst>
              <a:ext uri="{FF2B5EF4-FFF2-40B4-BE49-F238E27FC236}">
                <a16:creationId xmlns:a16="http://schemas.microsoft.com/office/drawing/2014/main" id="{606A5973-E1FB-6343-B2A2-9B3904BF53AC}"/>
              </a:ext>
            </a:extLst>
          </p:cNvPr>
          <p:cNvSpPr/>
          <p:nvPr userDrawn="1"/>
        </p:nvSpPr>
        <p:spPr>
          <a:xfrm>
            <a:off x="2135560" y="1"/>
            <a:ext cx="1006719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Title 1">
            <a:extLst>
              <a:ext uri="{FF2B5EF4-FFF2-40B4-BE49-F238E27FC236}">
                <a16:creationId xmlns:a16="http://schemas.microsoft.com/office/drawing/2014/main" id="{3783C100-F621-8448-98BD-5341ADDE5A55}"/>
              </a:ext>
            </a:extLst>
          </p:cNvPr>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0" name="TextBox 89">
            <a:extLst>
              <a:ext uri="{FF2B5EF4-FFF2-40B4-BE49-F238E27FC236}">
                <a16:creationId xmlns:a16="http://schemas.microsoft.com/office/drawing/2014/main" id="{E4314CFC-57E4-4246-9985-B70F31865B02}"/>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grpSp>
        <p:nvGrpSpPr>
          <p:cNvPr id="57" name="Группа 56">
            <a:extLst>
              <a:ext uri="{FF2B5EF4-FFF2-40B4-BE49-F238E27FC236}">
                <a16:creationId xmlns:a16="http://schemas.microsoft.com/office/drawing/2014/main" id="{05ACD35C-BFE5-3045-882F-4621C05CC5B3}"/>
              </a:ext>
            </a:extLst>
          </p:cNvPr>
          <p:cNvGrpSpPr/>
          <p:nvPr userDrawn="1"/>
        </p:nvGrpSpPr>
        <p:grpSpPr>
          <a:xfrm>
            <a:off x="0" y="-7200"/>
            <a:ext cx="2148770" cy="553998"/>
            <a:chOff x="0" y="11193"/>
            <a:chExt cx="2148770" cy="553998"/>
          </a:xfrm>
        </p:grpSpPr>
        <p:sp>
          <p:nvSpPr>
            <p:cNvPr id="58" name="Прямоугольник 57">
              <a:extLst>
                <a:ext uri="{FF2B5EF4-FFF2-40B4-BE49-F238E27FC236}">
                  <a16:creationId xmlns:a16="http://schemas.microsoft.com/office/drawing/2014/main" id="{C88ACBE3-625F-024E-9F3F-5C538608A190}"/>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 name="TextBox 58">
              <a:extLst>
                <a:ext uri="{FF2B5EF4-FFF2-40B4-BE49-F238E27FC236}">
                  <a16:creationId xmlns:a16="http://schemas.microsoft.com/office/drawing/2014/main" id="{35F08ED0-6400-404C-9BC7-CD726669A5D5}"/>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60" name="TextBox 59">
              <a:extLst>
                <a:ext uri="{FF2B5EF4-FFF2-40B4-BE49-F238E27FC236}">
                  <a16:creationId xmlns:a16="http://schemas.microsoft.com/office/drawing/2014/main" id="{06BF326A-6920-0642-BD58-09D12855C5E4}"/>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62" name="Прямоугольник 61">
            <a:extLst>
              <a:ext uri="{FF2B5EF4-FFF2-40B4-BE49-F238E27FC236}">
                <a16:creationId xmlns:a16="http://schemas.microsoft.com/office/drawing/2014/main" id="{413A3CE1-53AA-5B44-A0D9-15C752FBB20D}"/>
              </a:ext>
            </a:extLst>
          </p:cNvPr>
          <p:cNvSpPr/>
          <p:nvPr userDrawn="1"/>
        </p:nvSpPr>
        <p:spPr>
          <a:xfrm>
            <a:off x="0" y="313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3" name="TextBox 62">
            <a:extLst>
              <a:ext uri="{FF2B5EF4-FFF2-40B4-BE49-F238E27FC236}">
                <a16:creationId xmlns:a16="http://schemas.microsoft.com/office/drawing/2014/main" id="{C84B67EC-B010-AF40-83A8-749BB371B797}"/>
              </a:ext>
            </a:extLst>
          </p:cNvPr>
          <p:cNvSpPr txBox="1"/>
          <p:nvPr userDrawn="1"/>
        </p:nvSpPr>
        <p:spPr>
          <a:xfrm>
            <a:off x="604489" y="32325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64" name="Рисунок 63">
            <a:extLst>
              <a:ext uri="{FF2B5EF4-FFF2-40B4-BE49-F238E27FC236}">
                <a16:creationId xmlns:a16="http://schemas.microsoft.com/office/drawing/2014/main" id="{F4DEA0AF-238F-5D40-93D9-F6D1E3989FC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3204000"/>
            <a:ext cx="288000" cy="288000"/>
          </a:xfrm>
          <a:prstGeom prst="rect">
            <a:avLst/>
          </a:prstGeom>
        </p:spPr>
      </p:pic>
      <p:sp>
        <p:nvSpPr>
          <p:cNvPr id="65" name="Прямоугольник 64">
            <a:extLst>
              <a:ext uri="{FF2B5EF4-FFF2-40B4-BE49-F238E27FC236}">
                <a16:creationId xmlns:a16="http://schemas.microsoft.com/office/drawing/2014/main" id="{DD73986E-CD06-BD4B-9B31-465154285DB8}"/>
              </a:ext>
            </a:extLst>
          </p:cNvPr>
          <p:cNvSpPr/>
          <p:nvPr userDrawn="1"/>
        </p:nvSpPr>
        <p:spPr>
          <a:xfrm>
            <a:off x="0" y="270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 name="TextBox 65">
            <a:extLst>
              <a:ext uri="{FF2B5EF4-FFF2-40B4-BE49-F238E27FC236}">
                <a16:creationId xmlns:a16="http://schemas.microsoft.com/office/drawing/2014/main" id="{654BE9EB-78C4-4141-AA87-F04DFF1B4766}"/>
              </a:ext>
            </a:extLst>
          </p:cNvPr>
          <p:cNvSpPr txBox="1"/>
          <p:nvPr userDrawn="1"/>
        </p:nvSpPr>
        <p:spPr>
          <a:xfrm>
            <a:off x="604489" y="28005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67" name="Рисунок 66">
            <a:extLst>
              <a:ext uri="{FF2B5EF4-FFF2-40B4-BE49-F238E27FC236}">
                <a16:creationId xmlns:a16="http://schemas.microsoft.com/office/drawing/2014/main" id="{5225E38B-42E8-A04B-93FF-3701BD280E76}"/>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9271" y="2772000"/>
            <a:ext cx="288000" cy="288000"/>
          </a:xfrm>
          <a:prstGeom prst="rect">
            <a:avLst/>
          </a:prstGeom>
        </p:spPr>
      </p:pic>
      <p:sp>
        <p:nvSpPr>
          <p:cNvPr id="68" name="Прямоугольник 67">
            <a:extLst>
              <a:ext uri="{FF2B5EF4-FFF2-40B4-BE49-F238E27FC236}">
                <a16:creationId xmlns:a16="http://schemas.microsoft.com/office/drawing/2014/main" id="{3811E934-E170-D84B-AFFB-85A1C9694BAD}"/>
              </a:ext>
            </a:extLst>
          </p:cNvPr>
          <p:cNvSpPr/>
          <p:nvPr userDrawn="1"/>
        </p:nvSpPr>
        <p:spPr>
          <a:xfrm>
            <a:off x="0" y="226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 name="TextBox 68">
            <a:extLst>
              <a:ext uri="{FF2B5EF4-FFF2-40B4-BE49-F238E27FC236}">
                <a16:creationId xmlns:a16="http://schemas.microsoft.com/office/drawing/2014/main" id="{B9725CDF-46D1-2C4E-8BC2-2580850134F3}"/>
              </a:ext>
            </a:extLst>
          </p:cNvPr>
          <p:cNvSpPr txBox="1"/>
          <p:nvPr userDrawn="1"/>
        </p:nvSpPr>
        <p:spPr>
          <a:xfrm>
            <a:off x="604489" y="22993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70" name="Рисунок 69">
            <a:extLst>
              <a:ext uri="{FF2B5EF4-FFF2-40B4-BE49-F238E27FC236}">
                <a16:creationId xmlns:a16="http://schemas.microsoft.com/office/drawing/2014/main" id="{56EC3407-22ED-584B-ABC6-03FD2A4C76A8}"/>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69271" y="2340000"/>
            <a:ext cx="288000" cy="288000"/>
          </a:xfrm>
          <a:prstGeom prst="rect">
            <a:avLst/>
          </a:prstGeom>
        </p:spPr>
      </p:pic>
      <p:sp>
        <p:nvSpPr>
          <p:cNvPr id="71" name="Прямоугольник 70">
            <a:extLst>
              <a:ext uri="{FF2B5EF4-FFF2-40B4-BE49-F238E27FC236}">
                <a16:creationId xmlns:a16="http://schemas.microsoft.com/office/drawing/2014/main" id="{D803334C-EC96-6D41-81AD-F5B3F3CAE47E}"/>
              </a:ext>
            </a:extLst>
          </p:cNvPr>
          <p:cNvSpPr/>
          <p:nvPr userDrawn="1"/>
        </p:nvSpPr>
        <p:spPr>
          <a:xfrm>
            <a:off x="0" y="183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 name="TextBox 71">
            <a:extLst>
              <a:ext uri="{FF2B5EF4-FFF2-40B4-BE49-F238E27FC236}">
                <a16:creationId xmlns:a16="http://schemas.microsoft.com/office/drawing/2014/main" id="{FDE3FC6E-5E00-1740-A9D4-20D7E031F003}"/>
              </a:ext>
            </a:extLst>
          </p:cNvPr>
          <p:cNvSpPr txBox="1"/>
          <p:nvPr userDrawn="1"/>
        </p:nvSpPr>
        <p:spPr>
          <a:xfrm>
            <a:off x="604489" y="18673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73" name="Рисунок 72">
            <a:extLst>
              <a:ext uri="{FF2B5EF4-FFF2-40B4-BE49-F238E27FC236}">
                <a16:creationId xmlns:a16="http://schemas.microsoft.com/office/drawing/2014/main" id="{DABBFE6B-8903-3543-A03A-97123655F653}"/>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169271" y="1908000"/>
            <a:ext cx="288000" cy="288000"/>
          </a:xfrm>
          <a:prstGeom prst="rect">
            <a:avLst/>
          </a:prstGeom>
        </p:spPr>
      </p:pic>
      <p:sp>
        <p:nvSpPr>
          <p:cNvPr id="77" name="Прямоугольник 76">
            <a:extLst>
              <a:ext uri="{FF2B5EF4-FFF2-40B4-BE49-F238E27FC236}">
                <a16:creationId xmlns:a16="http://schemas.microsoft.com/office/drawing/2014/main" id="{DAF8D8B7-D595-A441-8800-9AC0A107C344}"/>
              </a:ext>
            </a:extLst>
          </p:cNvPr>
          <p:cNvSpPr/>
          <p:nvPr userDrawn="1"/>
        </p:nvSpPr>
        <p:spPr>
          <a:xfrm>
            <a:off x="0" y="356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 name="TextBox 77">
            <a:extLst>
              <a:ext uri="{FF2B5EF4-FFF2-40B4-BE49-F238E27FC236}">
                <a16:creationId xmlns:a16="http://schemas.microsoft.com/office/drawing/2014/main" id="{225A1654-BE40-2F46-A578-B38DA54B05D1}"/>
              </a:ext>
            </a:extLst>
          </p:cNvPr>
          <p:cNvSpPr txBox="1"/>
          <p:nvPr userDrawn="1"/>
        </p:nvSpPr>
        <p:spPr>
          <a:xfrm>
            <a:off x="604489" y="36645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79" name="Рисунок 78">
            <a:extLst>
              <a:ext uri="{FF2B5EF4-FFF2-40B4-BE49-F238E27FC236}">
                <a16:creationId xmlns:a16="http://schemas.microsoft.com/office/drawing/2014/main" id="{F1C1DF63-9D29-4148-84DD-276A97803886}"/>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69271" y="3636000"/>
            <a:ext cx="288000" cy="288000"/>
          </a:xfrm>
          <a:prstGeom prst="rect">
            <a:avLst/>
          </a:prstGeom>
        </p:spPr>
      </p:pic>
      <p:sp>
        <p:nvSpPr>
          <p:cNvPr id="80" name="Прямоугольник 79">
            <a:extLst>
              <a:ext uri="{FF2B5EF4-FFF2-40B4-BE49-F238E27FC236}">
                <a16:creationId xmlns:a16="http://schemas.microsoft.com/office/drawing/2014/main" id="{E80A66D1-FF98-EA41-A4DA-8C1FCE9969E9}"/>
              </a:ext>
            </a:extLst>
          </p:cNvPr>
          <p:cNvSpPr/>
          <p:nvPr userDrawn="1"/>
        </p:nvSpPr>
        <p:spPr>
          <a:xfrm>
            <a:off x="0" y="399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 name="TextBox 80">
            <a:extLst>
              <a:ext uri="{FF2B5EF4-FFF2-40B4-BE49-F238E27FC236}">
                <a16:creationId xmlns:a16="http://schemas.microsoft.com/office/drawing/2014/main" id="{3B851A89-FE61-3941-95CF-79C4B0E2C391}"/>
              </a:ext>
            </a:extLst>
          </p:cNvPr>
          <p:cNvSpPr txBox="1"/>
          <p:nvPr userDrawn="1"/>
        </p:nvSpPr>
        <p:spPr>
          <a:xfrm>
            <a:off x="604489" y="40965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82" name="Рисунок 81">
            <a:extLst>
              <a:ext uri="{FF2B5EF4-FFF2-40B4-BE49-F238E27FC236}">
                <a16:creationId xmlns:a16="http://schemas.microsoft.com/office/drawing/2014/main" id="{0E9E1BC3-F18C-0547-BC6F-F156910E992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69271" y="4068000"/>
            <a:ext cx="288000" cy="288000"/>
          </a:xfrm>
          <a:prstGeom prst="rect">
            <a:avLst/>
          </a:prstGeom>
        </p:spPr>
      </p:pic>
      <p:sp>
        <p:nvSpPr>
          <p:cNvPr id="83" name="Прямоугольник 82">
            <a:extLst>
              <a:ext uri="{FF2B5EF4-FFF2-40B4-BE49-F238E27FC236}">
                <a16:creationId xmlns:a16="http://schemas.microsoft.com/office/drawing/2014/main" id="{5B7E63ED-6809-854D-8906-30E32AAAC713}"/>
              </a:ext>
            </a:extLst>
          </p:cNvPr>
          <p:cNvSpPr/>
          <p:nvPr userDrawn="1"/>
        </p:nvSpPr>
        <p:spPr>
          <a:xfrm>
            <a:off x="0" y="97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 name="TextBox 83">
            <a:extLst>
              <a:ext uri="{FF2B5EF4-FFF2-40B4-BE49-F238E27FC236}">
                <a16:creationId xmlns:a16="http://schemas.microsoft.com/office/drawing/2014/main" id="{245E8007-A280-D741-84E9-202C006BCD7F}"/>
              </a:ext>
            </a:extLst>
          </p:cNvPr>
          <p:cNvSpPr txBox="1"/>
          <p:nvPr userDrawn="1"/>
        </p:nvSpPr>
        <p:spPr>
          <a:xfrm>
            <a:off x="604489" y="10725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85" name="Рисунок 84">
            <a:extLst>
              <a:ext uri="{FF2B5EF4-FFF2-40B4-BE49-F238E27FC236}">
                <a16:creationId xmlns:a16="http://schemas.microsoft.com/office/drawing/2014/main" id="{37B7EDBF-3A03-064F-B466-00C5CB0EA778}"/>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69271" y="1044000"/>
            <a:ext cx="288000" cy="288000"/>
          </a:xfrm>
          <a:prstGeom prst="rect">
            <a:avLst/>
          </a:prstGeom>
        </p:spPr>
      </p:pic>
      <p:sp>
        <p:nvSpPr>
          <p:cNvPr id="86" name="Прямоугольник 85">
            <a:extLst>
              <a:ext uri="{FF2B5EF4-FFF2-40B4-BE49-F238E27FC236}">
                <a16:creationId xmlns:a16="http://schemas.microsoft.com/office/drawing/2014/main" id="{5B623FB5-340A-D043-ABBF-C042885296AC}"/>
              </a:ext>
            </a:extLst>
          </p:cNvPr>
          <p:cNvSpPr/>
          <p:nvPr userDrawn="1"/>
        </p:nvSpPr>
        <p:spPr>
          <a:xfrm>
            <a:off x="0" y="486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 name="TextBox 86">
            <a:extLst>
              <a:ext uri="{FF2B5EF4-FFF2-40B4-BE49-F238E27FC236}">
                <a16:creationId xmlns:a16="http://schemas.microsoft.com/office/drawing/2014/main" id="{92522FE4-E6A2-9549-B762-8BD9E3C1ADF4}"/>
              </a:ext>
            </a:extLst>
          </p:cNvPr>
          <p:cNvSpPr txBox="1"/>
          <p:nvPr userDrawn="1"/>
        </p:nvSpPr>
        <p:spPr>
          <a:xfrm>
            <a:off x="604489" y="49605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88" name="Рисунок 87">
            <a:extLst>
              <a:ext uri="{FF2B5EF4-FFF2-40B4-BE49-F238E27FC236}">
                <a16:creationId xmlns:a16="http://schemas.microsoft.com/office/drawing/2014/main" id="{03480538-E58F-B040-BA72-06E3C9D018BB}"/>
              </a:ext>
            </a:extLst>
          </p:cNvPr>
          <p:cNvPicPr>
            <a:picLocks noChangeAspect="1"/>
          </p:cNvPicPr>
          <p:nvPr userDrawn="1"/>
        </p:nvPicPr>
        <p:blipFill>
          <a:blip r:embed="rId9" cstate="hqprint">
            <a:extLst>
              <a:ext uri="{28A0092B-C50C-407E-A947-70E740481C1C}">
                <a14:useLocalDpi xmlns:a14="http://schemas.microsoft.com/office/drawing/2010/main" val="0"/>
              </a:ext>
            </a:extLst>
          </a:blip>
          <a:stretch>
            <a:fillRect/>
          </a:stretch>
        </p:blipFill>
        <p:spPr>
          <a:xfrm>
            <a:off x="169271" y="4932000"/>
            <a:ext cx="288000" cy="288000"/>
          </a:xfrm>
          <a:prstGeom prst="rect">
            <a:avLst/>
          </a:prstGeom>
        </p:spPr>
      </p:pic>
      <p:sp>
        <p:nvSpPr>
          <p:cNvPr id="89" name="Прямоугольник 88">
            <a:extLst>
              <a:ext uri="{FF2B5EF4-FFF2-40B4-BE49-F238E27FC236}">
                <a16:creationId xmlns:a16="http://schemas.microsoft.com/office/drawing/2014/main" id="{8AF3D0ED-3608-B845-89B0-E519D96B52FF}"/>
              </a:ext>
            </a:extLst>
          </p:cNvPr>
          <p:cNvSpPr/>
          <p:nvPr userDrawn="1"/>
        </p:nvSpPr>
        <p:spPr>
          <a:xfrm>
            <a:off x="0" y="140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3" name="TextBox 102">
            <a:extLst>
              <a:ext uri="{FF2B5EF4-FFF2-40B4-BE49-F238E27FC236}">
                <a16:creationId xmlns:a16="http://schemas.microsoft.com/office/drawing/2014/main" id="{3F086E6D-9CEF-1943-8EB6-CDCAE5FD1831}"/>
              </a:ext>
            </a:extLst>
          </p:cNvPr>
          <p:cNvSpPr txBox="1"/>
          <p:nvPr userDrawn="1"/>
        </p:nvSpPr>
        <p:spPr>
          <a:xfrm>
            <a:off x="604489" y="15045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104" name="Рисунок 103">
            <a:extLst>
              <a:ext uri="{FF2B5EF4-FFF2-40B4-BE49-F238E27FC236}">
                <a16:creationId xmlns:a16="http://schemas.microsoft.com/office/drawing/2014/main" id="{287D5406-49DF-0D44-A60E-D2B1A041EFF6}"/>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69270" y="1476000"/>
            <a:ext cx="288000" cy="288000"/>
          </a:xfrm>
          <a:prstGeom prst="rect">
            <a:avLst/>
          </a:prstGeom>
        </p:spPr>
      </p:pic>
      <p:sp>
        <p:nvSpPr>
          <p:cNvPr id="105" name="Прямоугольник 104">
            <a:extLst>
              <a:ext uri="{FF2B5EF4-FFF2-40B4-BE49-F238E27FC236}">
                <a16:creationId xmlns:a16="http://schemas.microsoft.com/office/drawing/2014/main" id="{20454DE3-5170-BD46-84BC-F925DA91F6AA}"/>
              </a:ext>
            </a:extLst>
          </p:cNvPr>
          <p:cNvSpPr/>
          <p:nvPr userDrawn="1"/>
        </p:nvSpPr>
        <p:spPr>
          <a:xfrm>
            <a:off x="0" y="529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8" name="TextBox 107">
            <a:extLst>
              <a:ext uri="{FF2B5EF4-FFF2-40B4-BE49-F238E27FC236}">
                <a16:creationId xmlns:a16="http://schemas.microsoft.com/office/drawing/2014/main" id="{8D772069-8FAA-CF44-9637-531A4CA86193}"/>
              </a:ext>
            </a:extLst>
          </p:cNvPr>
          <p:cNvSpPr txBox="1"/>
          <p:nvPr userDrawn="1"/>
        </p:nvSpPr>
        <p:spPr>
          <a:xfrm>
            <a:off x="604489" y="53925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109" name="Рисунок 108">
            <a:extLst>
              <a:ext uri="{FF2B5EF4-FFF2-40B4-BE49-F238E27FC236}">
                <a16:creationId xmlns:a16="http://schemas.microsoft.com/office/drawing/2014/main" id="{7EF417D8-5308-DB41-80EE-42E916B88F0C}"/>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69270" y="5364000"/>
            <a:ext cx="288000" cy="288000"/>
          </a:xfrm>
          <a:prstGeom prst="rect">
            <a:avLst/>
          </a:prstGeom>
        </p:spPr>
      </p:pic>
      <p:sp>
        <p:nvSpPr>
          <p:cNvPr id="110" name="Прямоугольник 109">
            <a:extLst>
              <a:ext uri="{FF2B5EF4-FFF2-40B4-BE49-F238E27FC236}">
                <a16:creationId xmlns:a16="http://schemas.microsoft.com/office/drawing/2014/main" id="{E8F3EF92-DFF3-114A-BA1C-E62268579C47}"/>
              </a:ext>
            </a:extLst>
          </p:cNvPr>
          <p:cNvSpPr/>
          <p:nvPr userDrawn="1"/>
        </p:nvSpPr>
        <p:spPr>
          <a:xfrm>
            <a:off x="0" y="54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1" name="TextBox 110">
            <a:extLst>
              <a:ext uri="{FF2B5EF4-FFF2-40B4-BE49-F238E27FC236}">
                <a16:creationId xmlns:a16="http://schemas.microsoft.com/office/drawing/2014/main" id="{EA3D4D4C-E81E-8D4C-86CD-30EDB288119D}"/>
              </a:ext>
            </a:extLst>
          </p:cNvPr>
          <p:cNvSpPr txBox="1"/>
          <p:nvPr userDrawn="1"/>
        </p:nvSpPr>
        <p:spPr>
          <a:xfrm>
            <a:off x="604489" y="6405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112" name="Рисунок 111">
            <a:extLst>
              <a:ext uri="{FF2B5EF4-FFF2-40B4-BE49-F238E27FC236}">
                <a16:creationId xmlns:a16="http://schemas.microsoft.com/office/drawing/2014/main" id="{A727FACD-30C0-6C4C-AB05-FF6AFACFAE8A}"/>
              </a:ext>
            </a:extLst>
          </p:cNvPr>
          <p:cNvPicPr>
            <a:picLocks noChangeAspect="1"/>
          </p:cNvPicPr>
          <p:nvPr userDrawn="1"/>
        </p:nvPicPr>
        <p:blipFill>
          <a:blip r:embed="rId12" cstate="hqprint">
            <a:extLst>
              <a:ext uri="{28A0092B-C50C-407E-A947-70E740481C1C}">
                <a14:useLocalDpi xmlns:a14="http://schemas.microsoft.com/office/drawing/2010/main" val="0"/>
              </a:ext>
            </a:extLst>
          </a:blip>
          <a:stretch>
            <a:fillRect/>
          </a:stretch>
        </p:blipFill>
        <p:spPr>
          <a:xfrm>
            <a:off x="169271" y="612000"/>
            <a:ext cx="288000" cy="288000"/>
          </a:xfrm>
          <a:prstGeom prst="rect">
            <a:avLst/>
          </a:prstGeom>
        </p:spPr>
      </p:pic>
      <p:sp>
        <p:nvSpPr>
          <p:cNvPr id="113" name="Прямоугольник 112">
            <a:extLst>
              <a:ext uri="{FF2B5EF4-FFF2-40B4-BE49-F238E27FC236}">
                <a16:creationId xmlns:a16="http://schemas.microsoft.com/office/drawing/2014/main" id="{BC3D4A6E-D280-974E-93AB-07A1AC50F334}"/>
              </a:ext>
            </a:extLst>
          </p:cNvPr>
          <p:cNvSpPr/>
          <p:nvPr userDrawn="1"/>
        </p:nvSpPr>
        <p:spPr>
          <a:xfrm>
            <a:off x="0" y="572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4" name="TextBox 113">
            <a:extLst>
              <a:ext uri="{FF2B5EF4-FFF2-40B4-BE49-F238E27FC236}">
                <a16:creationId xmlns:a16="http://schemas.microsoft.com/office/drawing/2014/main" id="{DB48D890-2B25-2740-81DF-206167B01EE7}"/>
              </a:ext>
            </a:extLst>
          </p:cNvPr>
          <p:cNvSpPr txBox="1"/>
          <p:nvPr userDrawn="1"/>
        </p:nvSpPr>
        <p:spPr>
          <a:xfrm>
            <a:off x="604489" y="58245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115" name="Рисунок 114">
            <a:extLst>
              <a:ext uri="{FF2B5EF4-FFF2-40B4-BE49-F238E27FC236}">
                <a16:creationId xmlns:a16="http://schemas.microsoft.com/office/drawing/2014/main" id="{38B9FAFE-19BB-C54D-A53E-2772D4C39E63}"/>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69271" y="5796000"/>
            <a:ext cx="288000" cy="288000"/>
          </a:xfrm>
          <a:prstGeom prst="rect">
            <a:avLst/>
          </a:prstGeom>
        </p:spPr>
      </p:pic>
      <p:sp>
        <p:nvSpPr>
          <p:cNvPr id="116" name="Прямоугольник 115">
            <a:extLst>
              <a:ext uri="{FF2B5EF4-FFF2-40B4-BE49-F238E27FC236}">
                <a16:creationId xmlns:a16="http://schemas.microsoft.com/office/drawing/2014/main" id="{79E6275C-A566-494A-8983-922944CCF1DA}"/>
              </a:ext>
            </a:extLst>
          </p:cNvPr>
          <p:cNvSpPr/>
          <p:nvPr userDrawn="1"/>
        </p:nvSpPr>
        <p:spPr>
          <a:xfrm>
            <a:off x="0" y="615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7" name="TextBox 116">
            <a:extLst>
              <a:ext uri="{FF2B5EF4-FFF2-40B4-BE49-F238E27FC236}">
                <a16:creationId xmlns:a16="http://schemas.microsoft.com/office/drawing/2014/main" id="{C40314CC-CA7E-9342-9A89-128A9BD55987}"/>
              </a:ext>
            </a:extLst>
          </p:cNvPr>
          <p:cNvSpPr txBox="1"/>
          <p:nvPr userDrawn="1"/>
        </p:nvSpPr>
        <p:spPr>
          <a:xfrm>
            <a:off x="604489" y="62565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118" name="Рисунок 117">
            <a:extLst>
              <a:ext uri="{FF2B5EF4-FFF2-40B4-BE49-F238E27FC236}">
                <a16:creationId xmlns:a16="http://schemas.microsoft.com/office/drawing/2014/main" id="{A6ED333C-DED5-A44B-B54B-8D1BDE379109}"/>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6228000"/>
            <a:ext cx="288000" cy="288000"/>
          </a:xfrm>
          <a:prstGeom prst="rect">
            <a:avLst/>
          </a:prstGeom>
        </p:spPr>
      </p:pic>
      <p:sp>
        <p:nvSpPr>
          <p:cNvPr id="133" name="Прямоугольник 132">
            <a:extLst>
              <a:ext uri="{FF2B5EF4-FFF2-40B4-BE49-F238E27FC236}">
                <a16:creationId xmlns:a16="http://schemas.microsoft.com/office/drawing/2014/main" id="{8698AEE8-07F5-AD46-A1BF-207727E18E2F}"/>
              </a:ext>
            </a:extLst>
          </p:cNvPr>
          <p:cNvSpPr/>
          <p:nvPr userDrawn="1"/>
        </p:nvSpPr>
        <p:spPr>
          <a:xfrm>
            <a:off x="0" y="44280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4" name="TextBox 133">
            <a:extLst>
              <a:ext uri="{FF2B5EF4-FFF2-40B4-BE49-F238E27FC236}">
                <a16:creationId xmlns:a16="http://schemas.microsoft.com/office/drawing/2014/main" id="{2464FA7F-5C35-B844-9D28-BD3466BF6760}"/>
              </a:ext>
            </a:extLst>
          </p:cNvPr>
          <p:cNvSpPr txBox="1"/>
          <p:nvPr userDrawn="1"/>
        </p:nvSpPr>
        <p:spPr>
          <a:xfrm>
            <a:off x="604489" y="4528584"/>
            <a:ext cx="1439290" cy="230832"/>
          </a:xfrm>
          <a:prstGeom prst="rect">
            <a:avLst/>
          </a:prstGeom>
          <a:noFill/>
        </p:spPr>
        <p:txBody>
          <a:bodyPr wrap="square" rtlCol="0" anchor="ctr">
            <a:spAutoFit/>
          </a:bodyPr>
          <a:lstStyle/>
          <a:p>
            <a:r>
              <a:rPr lang="ru-RU" sz="900" b="1" dirty="0" err="1">
                <a:solidFill>
                  <a:schemeClr val="bg1"/>
                </a:solidFill>
              </a:rPr>
              <a:t>Технориск</a:t>
            </a:r>
            <a:endParaRPr lang="ru-RU" sz="900" b="1" dirty="0">
              <a:solidFill>
                <a:schemeClr val="bg1"/>
              </a:solidFill>
            </a:endParaRPr>
          </a:p>
        </p:txBody>
      </p:sp>
      <p:pic>
        <p:nvPicPr>
          <p:cNvPr id="135" name="Рисунок 134">
            <a:extLst>
              <a:ext uri="{FF2B5EF4-FFF2-40B4-BE49-F238E27FC236}">
                <a16:creationId xmlns:a16="http://schemas.microsoft.com/office/drawing/2014/main" id="{BBB5565E-948E-104F-9606-42DC805C28EA}"/>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171523" y="4500000"/>
            <a:ext cx="288000" cy="288000"/>
          </a:xfrm>
          <a:prstGeom prst="rect">
            <a:avLst/>
          </a:prstGeom>
        </p:spPr>
      </p:pic>
      <p:sp>
        <p:nvSpPr>
          <p:cNvPr id="53" name="Прямоугольник 52">
            <a:extLst>
              <a:ext uri="{FF2B5EF4-FFF2-40B4-BE49-F238E27FC236}">
                <a16:creationId xmlns:a16="http://schemas.microsoft.com/office/drawing/2014/main" id="{342174A1-8970-704E-AD85-5C0128E7287A}"/>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4" name="Рисунок 53">
            <a:extLst>
              <a:ext uri="{FF2B5EF4-FFF2-40B4-BE49-F238E27FC236}">
                <a16:creationId xmlns:a16="http://schemas.microsoft.com/office/drawing/2014/main" id="{90D481EC-C8E6-FC4B-9B29-8D5AB85A65E7}"/>
              </a:ext>
            </a:extLst>
          </p:cNvPr>
          <p:cNvPicPr>
            <a:picLocks noChangeAspect="1"/>
          </p:cNvPicPr>
          <p:nvPr userDrawn="1"/>
        </p:nvPicPr>
        <p:blipFill rotWithShape="1">
          <a:blip r:embed="rId16"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pic>
        <p:nvPicPr>
          <p:cNvPr id="4" name="Рисунок 3"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2" name="Рисунок 1"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spTree>
    <p:extLst>
      <p:ext uri="{BB962C8B-B14F-4D97-AF65-F5344CB8AC3E}">
        <p14:creationId xmlns:p14="http://schemas.microsoft.com/office/powerpoint/2010/main" val="273601003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12_Пруденциальный офис">
    <p:spTree>
      <p:nvGrpSpPr>
        <p:cNvPr id="1" name=""/>
        <p:cNvGrpSpPr/>
        <p:nvPr/>
      </p:nvGrpSpPr>
      <p:grpSpPr>
        <a:xfrm>
          <a:off x="0" y="0"/>
          <a:ext cx="0" cy="0"/>
          <a:chOff x="0" y="0"/>
          <a:chExt cx="0" cy="0"/>
        </a:xfrm>
      </p:grpSpPr>
      <p:sp>
        <p:nvSpPr>
          <p:cNvPr id="37" name="Прямоугольник 36">
            <a:extLst>
              <a:ext uri="{FF2B5EF4-FFF2-40B4-BE49-F238E27FC236}">
                <a16:creationId xmlns:a16="http://schemas.microsoft.com/office/drawing/2014/main" id="{00F14878-52FE-C14C-B62D-1C8B104F7D17}"/>
              </a:ext>
            </a:extLst>
          </p:cNvPr>
          <p:cNvSpPr/>
          <p:nvPr userDrawn="1"/>
        </p:nvSpPr>
        <p:spPr>
          <a:xfrm>
            <a:off x="2135560" y="1"/>
            <a:ext cx="1006719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Title 1">
            <a:extLst>
              <a:ext uri="{FF2B5EF4-FFF2-40B4-BE49-F238E27FC236}">
                <a16:creationId xmlns:a16="http://schemas.microsoft.com/office/drawing/2014/main" id="{0A92D1BC-D859-EE4F-8EFD-E6F935877EE7}"/>
              </a:ext>
            </a:extLst>
          </p:cNvPr>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0" name="TextBox 89">
            <a:extLst>
              <a:ext uri="{FF2B5EF4-FFF2-40B4-BE49-F238E27FC236}">
                <a16:creationId xmlns:a16="http://schemas.microsoft.com/office/drawing/2014/main" id="{66867703-5CDC-7045-B3A4-926899885122}"/>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grpSp>
        <p:nvGrpSpPr>
          <p:cNvPr id="57" name="Группа 56">
            <a:extLst>
              <a:ext uri="{FF2B5EF4-FFF2-40B4-BE49-F238E27FC236}">
                <a16:creationId xmlns:a16="http://schemas.microsoft.com/office/drawing/2014/main" id="{715FB74A-1322-0946-BE67-289FE6E3BF5E}"/>
              </a:ext>
            </a:extLst>
          </p:cNvPr>
          <p:cNvGrpSpPr/>
          <p:nvPr userDrawn="1"/>
        </p:nvGrpSpPr>
        <p:grpSpPr>
          <a:xfrm>
            <a:off x="0" y="-7200"/>
            <a:ext cx="2148770" cy="553998"/>
            <a:chOff x="0" y="11193"/>
            <a:chExt cx="2148770" cy="553998"/>
          </a:xfrm>
        </p:grpSpPr>
        <p:sp>
          <p:nvSpPr>
            <p:cNvPr id="58" name="Прямоугольник 57">
              <a:extLst>
                <a:ext uri="{FF2B5EF4-FFF2-40B4-BE49-F238E27FC236}">
                  <a16:creationId xmlns:a16="http://schemas.microsoft.com/office/drawing/2014/main" id="{699922F4-567E-2C42-ACDD-CF227D632495}"/>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 name="TextBox 58">
              <a:extLst>
                <a:ext uri="{FF2B5EF4-FFF2-40B4-BE49-F238E27FC236}">
                  <a16:creationId xmlns:a16="http://schemas.microsoft.com/office/drawing/2014/main" id="{7C69FE4C-A692-4A46-B897-792F396A8BB0}"/>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60" name="TextBox 59">
              <a:extLst>
                <a:ext uri="{FF2B5EF4-FFF2-40B4-BE49-F238E27FC236}">
                  <a16:creationId xmlns:a16="http://schemas.microsoft.com/office/drawing/2014/main" id="{3944FB49-B898-B54B-998D-4D1237295EF7}"/>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62" name="Прямоугольник 61">
            <a:extLst>
              <a:ext uri="{FF2B5EF4-FFF2-40B4-BE49-F238E27FC236}">
                <a16:creationId xmlns:a16="http://schemas.microsoft.com/office/drawing/2014/main" id="{074EECD0-60F2-D848-9D33-BD1387274114}"/>
              </a:ext>
            </a:extLst>
          </p:cNvPr>
          <p:cNvSpPr/>
          <p:nvPr userDrawn="1"/>
        </p:nvSpPr>
        <p:spPr>
          <a:xfrm>
            <a:off x="0" y="313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3" name="TextBox 62">
            <a:extLst>
              <a:ext uri="{FF2B5EF4-FFF2-40B4-BE49-F238E27FC236}">
                <a16:creationId xmlns:a16="http://schemas.microsoft.com/office/drawing/2014/main" id="{E7F20629-0A4E-1944-A45F-E354C5F637B5}"/>
              </a:ext>
            </a:extLst>
          </p:cNvPr>
          <p:cNvSpPr txBox="1"/>
          <p:nvPr userDrawn="1"/>
        </p:nvSpPr>
        <p:spPr>
          <a:xfrm>
            <a:off x="604489" y="32325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64" name="Рисунок 63">
            <a:extLst>
              <a:ext uri="{FF2B5EF4-FFF2-40B4-BE49-F238E27FC236}">
                <a16:creationId xmlns:a16="http://schemas.microsoft.com/office/drawing/2014/main" id="{E9EEB63A-2D1B-2947-9372-8F0D5277AF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3204000"/>
            <a:ext cx="288000" cy="288000"/>
          </a:xfrm>
          <a:prstGeom prst="rect">
            <a:avLst/>
          </a:prstGeom>
        </p:spPr>
      </p:pic>
      <p:sp>
        <p:nvSpPr>
          <p:cNvPr id="65" name="Прямоугольник 64">
            <a:extLst>
              <a:ext uri="{FF2B5EF4-FFF2-40B4-BE49-F238E27FC236}">
                <a16:creationId xmlns:a16="http://schemas.microsoft.com/office/drawing/2014/main" id="{12AA23C8-EFB5-B944-932B-1707D59EFCA8}"/>
              </a:ext>
            </a:extLst>
          </p:cNvPr>
          <p:cNvSpPr/>
          <p:nvPr userDrawn="1"/>
        </p:nvSpPr>
        <p:spPr>
          <a:xfrm>
            <a:off x="0" y="270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 name="TextBox 65">
            <a:extLst>
              <a:ext uri="{FF2B5EF4-FFF2-40B4-BE49-F238E27FC236}">
                <a16:creationId xmlns:a16="http://schemas.microsoft.com/office/drawing/2014/main" id="{79F48A4A-69A2-2E4F-A3F6-7AE740E2ACF4}"/>
              </a:ext>
            </a:extLst>
          </p:cNvPr>
          <p:cNvSpPr txBox="1"/>
          <p:nvPr userDrawn="1"/>
        </p:nvSpPr>
        <p:spPr>
          <a:xfrm>
            <a:off x="604489" y="28005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67" name="Рисунок 66">
            <a:extLst>
              <a:ext uri="{FF2B5EF4-FFF2-40B4-BE49-F238E27FC236}">
                <a16:creationId xmlns:a16="http://schemas.microsoft.com/office/drawing/2014/main" id="{8F2875DB-4C57-984C-AE3E-C5A6B1C495A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9271" y="2772000"/>
            <a:ext cx="288000" cy="288000"/>
          </a:xfrm>
          <a:prstGeom prst="rect">
            <a:avLst/>
          </a:prstGeom>
        </p:spPr>
      </p:pic>
      <p:sp>
        <p:nvSpPr>
          <p:cNvPr id="68" name="Прямоугольник 67">
            <a:extLst>
              <a:ext uri="{FF2B5EF4-FFF2-40B4-BE49-F238E27FC236}">
                <a16:creationId xmlns:a16="http://schemas.microsoft.com/office/drawing/2014/main" id="{A2CD7F1A-5C4E-0D4B-9D64-6DA00F14177F}"/>
              </a:ext>
            </a:extLst>
          </p:cNvPr>
          <p:cNvSpPr/>
          <p:nvPr userDrawn="1"/>
        </p:nvSpPr>
        <p:spPr>
          <a:xfrm>
            <a:off x="0" y="226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 name="TextBox 68">
            <a:extLst>
              <a:ext uri="{FF2B5EF4-FFF2-40B4-BE49-F238E27FC236}">
                <a16:creationId xmlns:a16="http://schemas.microsoft.com/office/drawing/2014/main" id="{C090EB19-8E89-0346-8219-A7A6EBDD8A67}"/>
              </a:ext>
            </a:extLst>
          </p:cNvPr>
          <p:cNvSpPr txBox="1"/>
          <p:nvPr userDrawn="1"/>
        </p:nvSpPr>
        <p:spPr>
          <a:xfrm>
            <a:off x="604489" y="22993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70" name="Рисунок 69">
            <a:extLst>
              <a:ext uri="{FF2B5EF4-FFF2-40B4-BE49-F238E27FC236}">
                <a16:creationId xmlns:a16="http://schemas.microsoft.com/office/drawing/2014/main" id="{4C9AA5DB-4ED7-4444-982F-082B209C6EB4}"/>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69271" y="2340000"/>
            <a:ext cx="288000" cy="288000"/>
          </a:xfrm>
          <a:prstGeom prst="rect">
            <a:avLst/>
          </a:prstGeom>
        </p:spPr>
      </p:pic>
      <p:sp>
        <p:nvSpPr>
          <p:cNvPr id="71" name="Прямоугольник 70">
            <a:extLst>
              <a:ext uri="{FF2B5EF4-FFF2-40B4-BE49-F238E27FC236}">
                <a16:creationId xmlns:a16="http://schemas.microsoft.com/office/drawing/2014/main" id="{5B7492B3-F681-C142-ADBB-0ACEE3AF2F1A}"/>
              </a:ext>
            </a:extLst>
          </p:cNvPr>
          <p:cNvSpPr/>
          <p:nvPr userDrawn="1"/>
        </p:nvSpPr>
        <p:spPr>
          <a:xfrm>
            <a:off x="0" y="183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 name="TextBox 71">
            <a:extLst>
              <a:ext uri="{FF2B5EF4-FFF2-40B4-BE49-F238E27FC236}">
                <a16:creationId xmlns:a16="http://schemas.microsoft.com/office/drawing/2014/main" id="{EA9023BB-21EF-984B-8D1A-CB659AE7EB49}"/>
              </a:ext>
            </a:extLst>
          </p:cNvPr>
          <p:cNvSpPr txBox="1"/>
          <p:nvPr userDrawn="1"/>
        </p:nvSpPr>
        <p:spPr>
          <a:xfrm>
            <a:off x="604489" y="18673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73" name="Рисунок 72">
            <a:extLst>
              <a:ext uri="{FF2B5EF4-FFF2-40B4-BE49-F238E27FC236}">
                <a16:creationId xmlns:a16="http://schemas.microsoft.com/office/drawing/2014/main" id="{BAD440AD-F090-4548-9DB3-1F451AD4F5BB}"/>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169271" y="1908000"/>
            <a:ext cx="288000" cy="288000"/>
          </a:xfrm>
          <a:prstGeom prst="rect">
            <a:avLst/>
          </a:prstGeom>
        </p:spPr>
      </p:pic>
      <p:sp>
        <p:nvSpPr>
          <p:cNvPr id="74" name="Прямоугольник 73">
            <a:extLst>
              <a:ext uri="{FF2B5EF4-FFF2-40B4-BE49-F238E27FC236}">
                <a16:creationId xmlns:a16="http://schemas.microsoft.com/office/drawing/2014/main" id="{576B02BE-49AB-DF4B-A91F-95AA0CF289D2}"/>
              </a:ext>
            </a:extLst>
          </p:cNvPr>
          <p:cNvSpPr/>
          <p:nvPr userDrawn="1"/>
        </p:nvSpPr>
        <p:spPr>
          <a:xfrm>
            <a:off x="0" y="442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 name="TextBox 74">
            <a:extLst>
              <a:ext uri="{FF2B5EF4-FFF2-40B4-BE49-F238E27FC236}">
                <a16:creationId xmlns:a16="http://schemas.microsoft.com/office/drawing/2014/main" id="{1CA1965D-B47A-1D47-BE90-20187E7D0785}"/>
              </a:ext>
            </a:extLst>
          </p:cNvPr>
          <p:cNvSpPr txBox="1"/>
          <p:nvPr userDrawn="1"/>
        </p:nvSpPr>
        <p:spPr>
          <a:xfrm>
            <a:off x="604489" y="45285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76" name="Рисунок 75">
            <a:extLst>
              <a:ext uri="{FF2B5EF4-FFF2-40B4-BE49-F238E27FC236}">
                <a16:creationId xmlns:a16="http://schemas.microsoft.com/office/drawing/2014/main" id="{EA690137-03A6-8D4C-9E66-6F0CEBBF1019}"/>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69271" y="4500000"/>
            <a:ext cx="288000" cy="288000"/>
          </a:xfrm>
          <a:prstGeom prst="rect">
            <a:avLst/>
          </a:prstGeom>
        </p:spPr>
      </p:pic>
      <p:sp>
        <p:nvSpPr>
          <p:cNvPr id="77" name="Прямоугольник 76">
            <a:extLst>
              <a:ext uri="{FF2B5EF4-FFF2-40B4-BE49-F238E27FC236}">
                <a16:creationId xmlns:a16="http://schemas.microsoft.com/office/drawing/2014/main" id="{D512B2A4-AEF6-BF40-83EF-75BDBAD34B62}"/>
              </a:ext>
            </a:extLst>
          </p:cNvPr>
          <p:cNvSpPr/>
          <p:nvPr userDrawn="1"/>
        </p:nvSpPr>
        <p:spPr>
          <a:xfrm>
            <a:off x="0" y="356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 name="TextBox 77">
            <a:extLst>
              <a:ext uri="{FF2B5EF4-FFF2-40B4-BE49-F238E27FC236}">
                <a16:creationId xmlns:a16="http://schemas.microsoft.com/office/drawing/2014/main" id="{A3F5B022-42D3-E349-8EDD-E4AA4337D641}"/>
              </a:ext>
            </a:extLst>
          </p:cNvPr>
          <p:cNvSpPr txBox="1"/>
          <p:nvPr userDrawn="1"/>
        </p:nvSpPr>
        <p:spPr>
          <a:xfrm>
            <a:off x="604489" y="36645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79" name="Рисунок 78">
            <a:extLst>
              <a:ext uri="{FF2B5EF4-FFF2-40B4-BE49-F238E27FC236}">
                <a16:creationId xmlns:a16="http://schemas.microsoft.com/office/drawing/2014/main" id="{5D658C24-C274-DB42-9759-0EFE513484EB}"/>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69271" y="3636000"/>
            <a:ext cx="288000" cy="288000"/>
          </a:xfrm>
          <a:prstGeom prst="rect">
            <a:avLst/>
          </a:prstGeom>
        </p:spPr>
      </p:pic>
      <p:sp>
        <p:nvSpPr>
          <p:cNvPr id="80" name="Прямоугольник 79">
            <a:extLst>
              <a:ext uri="{FF2B5EF4-FFF2-40B4-BE49-F238E27FC236}">
                <a16:creationId xmlns:a16="http://schemas.microsoft.com/office/drawing/2014/main" id="{B934A77C-6E45-C344-831C-A1CAC0E6FD9E}"/>
              </a:ext>
            </a:extLst>
          </p:cNvPr>
          <p:cNvSpPr/>
          <p:nvPr userDrawn="1"/>
        </p:nvSpPr>
        <p:spPr>
          <a:xfrm>
            <a:off x="0" y="399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 name="TextBox 80">
            <a:extLst>
              <a:ext uri="{FF2B5EF4-FFF2-40B4-BE49-F238E27FC236}">
                <a16:creationId xmlns:a16="http://schemas.microsoft.com/office/drawing/2014/main" id="{8F3497B0-B6C5-1F4D-9972-F2292CFFDF42}"/>
              </a:ext>
            </a:extLst>
          </p:cNvPr>
          <p:cNvSpPr txBox="1"/>
          <p:nvPr userDrawn="1"/>
        </p:nvSpPr>
        <p:spPr>
          <a:xfrm>
            <a:off x="604489" y="40965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82" name="Рисунок 81">
            <a:extLst>
              <a:ext uri="{FF2B5EF4-FFF2-40B4-BE49-F238E27FC236}">
                <a16:creationId xmlns:a16="http://schemas.microsoft.com/office/drawing/2014/main" id="{CBC08DF6-A81B-C64F-8AC9-0BCE3CA5EDDC}"/>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69271" y="4068000"/>
            <a:ext cx="288000" cy="288000"/>
          </a:xfrm>
          <a:prstGeom prst="rect">
            <a:avLst/>
          </a:prstGeom>
        </p:spPr>
      </p:pic>
      <p:sp>
        <p:nvSpPr>
          <p:cNvPr id="83" name="Прямоугольник 82">
            <a:extLst>
              <a:ext uri="{FF2B5EF4-FFF2-40B4-BE49-F238E27FC236}">
                <a16:creationId xmlns:a16="http://schemas.microsoft.com/office/drawing/2014/main" id="{607209A4-848B-2048-94EF-A51D1AA1C2EF}"/>
              </a:ext>
            </a:extLst>
          </p:cNvPr>
          <p:cNvSpPr/>
          <p:nvPr userDrawn="1"/>
        </p:nvSpPr>
        <p:spPr>
          <a:xfrm>
            <a:off x="0" y="97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 name="TextBox 83">
            <a:extLst>
              <a:ext uri="{FF2B5EF4-FFF2-40B4-BE49-F238E27FC236}">
                <a16:creationId xmlns:a16="http://schemas.microsoft.com/office/drawing/2014/main" id="{73D86FF9-BBA4-954E-B9A9-7500D3BAE92E}"/>
              </a:ext>
            </a:extLst>
          </p:cNvPr>
          <p:cNvSpPr txBox="1"/>
          <p:nvPr userDrawn="1"/>
        </p:nvSpPr>
        <p:spPr>
          <a:xfrm>
            <a:off x="604489" y="10725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85" name="Рисунок 84">
            <a:extLst>
              <a:ext uri="{FF2B5EF4-FFF2-40B4-BE49-F238E27FC236}">
                <a16:creationId xmlns:a16="http://schemas.microsoft.com/office/drawing/2014/main" id="{9598EDA3-86DB-1546-BD7F-47527609049A}"/>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69271" y="1044000"/>
            <a:ext cx="288000" cy="288000"/>
          </a:xfrm>
          <a:prstGeom prst="rect">
            <a:avLst/>
          </a:prstGeom>
        </p:spPr>
      </p:pic>
      <p:sp>
        <p:nvSpPr>
          <p:cNvPr id="89" name="Прямоугольник 88">
            <a:extLst>
              <a:ext uri="{FF2B5EF4-FFF2-40B4-BE49-F238E27FC236}">
                <a16:creationId xmlns:a16="http://schemas.microsoft.com/office/drawing/2014/main" id="{88095419-E4A8-D64D-B040-C1DF495067F5}"/>
              </a:ext>
            </a:extLst>
          </p:cNvPr>
          <p:cNvSpPr/>
          <p:nvPr userDrawn="1"/>
        </p:nvSpPr>
        <p:spPr>
          <a:xfrm>
            <a:off x="0" y="140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3" name="TextBox 102">
            <a:extLst>
              <a:ext uri="{FF2B5EF4-FFF2-40B4-BE49-F238E27FC236}">
                <a16:creationId xmlns:a16="http://schemas.microsoft.com/office/drawing/2014/main" id="{4DAAF373-634A-B947-B3E1-5CEBF04C1BD5}"/>
              </a:ext>
            </a:extLst>
          </p:cNvPr>
          <p:cNvSpPr txBox="1"/>
          <p:nvPr userDrawn="1"/>
        </p:nvSpPr>
        <p:spPr>
          <a:xfrm>
            <a:off x="604489" y="15045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104" name="Рисунок 103">
            <a:extLst>
              <a:ext uri="{FF2B5EF4-FFF2-40B4-BE49-F238E27FC236}">
                <a16:creationId xmlns:a16="http://schemas.microsoft.com/office/drawing/2014/main" id="{4E69148E-D662-5243-AC7A-FA4A26BE2B7B}"/>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69270" y="1476000"/>
            <a:ext cx="288000" cy="288000"/>
          </a:xfrm>
          <a:prstGeom prst="rect">
            <a:avLst/>
          </a:prstGeom>
        </p:spPr>
      </p:pic>
      <p:sp>
        <p:nvSpPr>
          <p:cNvPr id="105" name="Прямоугольник 104">
            <a:extLst>
              <a:ext uri="{FF2B5EF4-FFF2-40B4-BE49-F238E27FC236}">
                <a16:creationId xmlns:a16="http://schemas.microsoft.com/office/drawing/2014/main" id="{8E6F6527-41D6-5842-8A44-5ED022DCDDAF}"/>
              </a:ext>
            </a:extLst>
          </p:cNvPr>
          <p:cNvSpPr/>
          <p:nvPr userDrawn="1"/>
        </p:nvSpPr>
        <p:spPr>
          <a:xfrm>
            <a:off x="0" y="529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8" name="TextBox 107">
            <a:extLst>
              <a:ext uri="{FF2B5EF4-FFF2-40B4-BE49-F238E27FC236}">
                <a16:creationId xmlns:a16="http://schemas.microsoft.com/office/drawing/2014/main" id="{8A7636A2-37F5-CB41-81A7-B84941710A80}"/>
              </a:ext>
            </a:extLst>
          </p:cNvPr>
          <p:cNvSpPr txBox="1"/>
          <p:nvPr userDrawn="1"/>
        </p:nvSpPr>
        <p:spPr>
          <a:xfrm>
            <a:off x="604489" y="53925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109" name="Рисунок 108">
            <a:extLst>
              <a:ext uri="{FF2B5EF4-FFF2-40B4-BE49-F238E27FC236}">
                <a16:creationId xmlns:a16="http://schemas.microsoft.com/office/drawing/2014/main" id="{940D1CDE-4F3C-B749-A823-EFE7727AF511}"/>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69270" y="5364000"/>
            <a:ext cx="288000" cy="288000"/>
          </a:xfrm>
          <a:prstGeom prst="rect">
            <a:avLst/>
          </a:prstGeom>
        </p:spPr>
      </p:pic>
      <p:sp>
        <p:nvSpPr>
          <p:cNvPr id="110" name="Прямоугольник 109">
            <a:extLst>
              <a:ext uri="{FF2B5EF4-FFF2-40B4-BE49-F238E27FC236}">
                <a16:creationId xmlns:a16="http://schemas.microsoft.com/office/drawing/2014/main" id="{65E8F1D7-6635-1A43-B0AB-C23B41D2210E}"/>
              </a:ext>
            </a:extLst>
          </p:cNvPr>
          <p:cNvSpPr/>
          <p:nvPr userDrawn="1"/>
        </p:nvSpPr>
        <p:spPr>
          <a:xfrm>
            <a:off x="0" y="54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1" name="TextBox 110">
            <a:extLst>
              <a:ext uri="{FF2B5EF4-FFF2-40B4-BE49-F238E27FC236}">
                <a16:creationId xmlns:a16="http://schemas.microsoft.com/office/drawing/2014/main" id="{0DE0CAF8-8D5D-6747-9943-47E75104E8D8}"/>
              </a:ext>
            </a:extLst>
          </p:cNvPr>
          <p:cNvSpPr txBox="1"/>
          <p:nvPr userDrawn="1"/>
        </p:nvSpPr>
        <p:spPr>
          <a:xfrm>
            <a:off x="604489" y="6405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112" name="Рисунок 111">
            <a:extLst>
              <a:ext uri="{FF2B5EF4-FFF2-40B4-BE49-F238E27FC236}">
                <a16:creationId xmlns:a16="http://schemas.microsoft.com/office/drawing/2014/main" id="{0DFC8A2B-7A95-3046-AD90-BD67427DFC1B}"/>
              </a:ext>
            </a:extLst>
          </p:cNvPr>
          <p:cNvPicPr>
            <a:picLocks noChangeAspect="1"/>
          </p:cNvPicPr>
          <p:nvPr userDrawn="1"/>
        </p:nvPicPr>
        <p:blipFill>
          <a:blip r:embed="rId12" cstate="hqprint">
            <a:extLst>
              <a:ext uri="{28A0092B-C50C-407E-A947-70E740481C1C}">
                <a14:useLocalDpi xmlns:a14="http://schemas.microsoft.com/office/drawing/2010/main" val="0"/>
              </a:ext>
            </a:extLst>
          </a:blip>
          <a:stretch>
            <a:fillRect/>
          </a:stretch>
        </p:blipFill>
        <p:spPr>
          <a:xfrm>
            <a:off x="169271" y="612000"/>
            <a:ext cx="288000" cy="288000"/>
          </a:xfrm>
          <a:prstGeom prst="rect">
            <a:avLst/>
          </a:prstGeom>
        </p:spPr>
      </p:pic>
      <p:sp>
        <p:nvSpPr>
          <p:cNvPr id="113" name="Прямоугольник 112">
            <a:extLst>
              <a:ext uri="{FF2B5EF4-FFF2-40B4-BE49-F238E27FC236}">
                <a16:creationId xmlns:a16="http://schemas.microsoft.com/office/drawing/2014/main" id="{2DDC1DB2-1DB4-D540-8642-4377F7AD71EB}"/>
              </a:ext>
            </a:extLst>
          </p:cNvPr>
          <p:cNvSpPr/>
          <p:nvPr userDrawn="1"/>
        </p:nvSpPr>
        <p:spPr>
          <a:xfrm>
            <a:off x="0" y="572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4" name="TextBox 113">
            <a:extLst>
              <a:ext uri="{FF2B5EF4-FFF2-40B4-BE49-F238E27FC236}">
                <a16:creationId xmlns:a16="http://schemas.microsoft.com/office/drawing/2014/main" id="{E37454C2-69EB-834E-BC98-61EBE73D014E}"/>
              </a:ext>
            </a:extLst>
          </p:cNvPr>
          <p:cNvSpPr txBox="1"/>
          <p:nvPr userDrawn="1"/>
        </p:nvSpPr>
        <p:spPr>
          <a:xfrm>
            <a:off x="604489" y="58245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115" name="Рисунок 114">
            <a:extLst>
              <a:ext uri="{FF2B5EF4-FFF2-40B4-BE49-F238E27FC236}">
                <a16:creationId xmlns:a16="http://schemas.microsoft.com/office/drawing/2014/main" id="{6D125400-1525-BF40-99F6-9F5F1C32022F}"/>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69271" y="5796000"/>
            <a:ext cx="288000" cy="288000"/>
          </a:xfrm>
          <a:prstGeom prst="rect">
            <a:avLst/>
          </a:prstGeom>
        </p:spPr>
      </p:pic>
      <p:sp>
        <p:nvSpPr>
          <p:cNvPr id="116" name="Прямоугольник 115">
            <a:extLst>
              <a:ext uri="{FF2B5EF4-FFF2-40B4-BE49-F238E27FC236}">
                <a16:creationId xmlns:a16="http://schemas.microsoft.com/office/drawing/2014/main" id="{19201046-CAFC-7045-A66E-FFE9F10B8956}"/>
              </a:ext>
            </a:extLst>
          </p:cNvPr>
          <p:cNvSpPr/>
          <p:nvPr userDrawn="1"/>
        </p:nvSpPr>
        <p:spPr>
          <a:xfrm>
            <a:off x="0" y="615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7" name="TextBox 116">
            <a:extLst>
              <a:ext uri="{FF2B5EF4-FFF2-40B4-BE49-F238E27FC236}">
                <a16:creationId xmlns:a16="http://schemas.microsoft.com/office/drawing/2014/main" id="{99F22089-BBD0-4746-A275-61D5328DEDDC}"/>
              </a:ext>
            </a:extLst>
          </p:cNvPr>
          <p:cNvSpPr txBox="1"/>
          <p:nvPr userDrawn="1"/>
        </p:nvSpPr>
        <p:spPr>
          <a:xfrm>
            <a:off x="604489" y="62565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118" name="Рисунок 117">
            <a:extLst>
              <a:ext uri="{FF2B5EF4-FFF2-40B4-BE49-F238E27FC236}">
                <a16:creationId xmlns:a16="http://schemas.microsoft.com/office/drawing/2014/main" id="{F113337D-7B5E-A34D-A1DC-082DDDD5DD2D}"/>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6228000"/>
            <a:ext cx="288000" cy="288000"/>
          </a:xfrm>
          <a:prstGeom prst="rect">
            <a:avLst/>
          </a:prstGeom>
        </p:spPr>
      </p:pic>
      <p:sp>
        <p:nvSpPr>
          <p:cNvPr id="177" name="Прямоугольник 176">
            <a:extLst>
              <a:ext uri="{FF2B5EF4-FFF2-40B4-BE49-F238E27FC236}">
                <a16:creationId xmlns:a16="http://schemas.microsoft.com/office/drawing/2014/main" id="{781C25FF-34AA-9841-8B34-16E32D5BB5D4}"/>
              </a:ext>
            </a:extLst>
          </p:cNvPr>
          <p:cNvSpPr/>
          <p:nvPr userDrawn="1"/>
        </p:nvSpPr>
        <p:spPr>
          <a:xfrm>
            <a:off x="0" y="48600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78" name="TextBox 177">
            <a:extLst>
              <a:ext uri="{FF2B5EF4-FFF2-40B4-BE49-F238E27FC236}">
                <a16:creationId xmlns:a16="http://schemas.microsoft.com/office/drawing/2014/main" id="{221BAAC2-B73A-854C-8E71-157064C02D52}"/>
              </a:ext>
            </a:extLst>
          </p:cNvPr>
          <p:cNvSpPr txBox="1"/>
          <p:nvPr userDrawn="1"/>
        </p:nvSpPr>
        <p:spPr>
          <a:xfrm>
            <a:off x="604489" y="4960584"/>
            <a:ext cx="1439290" cy="230832"/>
          </a:xfrm>
          <a:prstGeom prst="rect">
            <a:avLst/>
          </a:prstGeom>
          <a:noFill/>
        </p:spPr>
        <p:txBody>
          <a:bodyPr wrap="square" rtlCol="0" anchor="ctr">
            <a:spAutoFit/>
          </a:bodyPr>
          <a:lstStyle/>
          <a:p>
            <a:r>
              <a:rPr lang="ru-RU" sz="900" b="1" dirty="0">
                <a:solidFill>
                  <a:schemeClr val="bg1"/>
                </a:solidFill>
              </a:rPr>
              <a:t>Пруденциальный офис</a:t>
            </a:r>
          </a:p>
        </p:txBody>
      </p:sp>
      <p:pic>
        <p:nvPicPr>
          <p:cNvPr id="179" name="Рисунок 178">
            <a:extLst>
              <a:ext uri="{FF2B5EF4-FFF2-40B4-BE49-F238E27FC236}">
                <a16:creationId xmlns:a16="http://schemas.microsoft.com/office/drawing/2014/main" id="{A811AA2B-B0DE-1C40-A616-F8143864F4ED}"/>
              </a:ext>
            </a:extLst>
          </p:cNvPr>
          <p:cNvPicPr>
            <a:picLocks noChangeAspect="1"/>
          </p:cNvPicPr>
          <p:nvPr userDrawn="1"/>
        </p:nvPicPr>
        <p:blipFill>
          <a:blip r:embed="rId15" cstate="hqprint">
            <a:extLst>
              <a:ext uri="{28A0092B-C50C-407E-A947-70E740481C1C}">
                <a14:useLocalDpi xmlns:a14="http://schemas.microsoft.com/office/drawing/2010/main" val="0"/>
              </a:ext>
            </a:extLst>
          </a:blip>
          <a:stretch>
            <a:fillRect/>
          </a:stretch>
        </p:blipFill>
        <p:spPr>
          <a:xfrm>
            <a:off x="171523" y="4932000"/>
            <a:ext cx="288000" cy="288000"/>
          </a:xfrm>
          <a:prstGeom prst="rect">
            <a:avLst/>
          </a:prstGeom>
        </p:spPr>
      </p:pic>
      <p:sp>
        <p:nvSpPr>
          <p:cNvPr id="53" name="Прямоугольник 52">
            <a:extLst>
              <a:ext uri="{FF2B5EF4-FFF2-40B4-BE49-F238E27FC236}">
                <a16:creationId xmlns:a16="http://schemas.microsoft.com/office/drawing/2014/main" id="{E8534B8E-5B96-DE4E-BBE2-65CBE8F6DD7C}"/>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4" name="Рисунок 53">
            <a:extLst>
              <a:ext uri="{FF2B5EF4-FFF2-40B4-BE49-F238E27FC236}">
                <a16:creationId xmlns:a16="http://schemas.microsoft.com/office/drawing/2014/main" id="{E42ABF7C-14D2-C34E-8DBC-9837177C3A5D}"/>
              </a:ext>
            </a:extLst>
          </p:cNvPr>
          <p:cNvPicPr>
            <a:picLocks noChangeAspect="1"/>
          </p:cNvPicPr>
          <p:nvPr userDrawn="1"/>
        </p:nvPicPr>
        <p:blipFill rotWithShape="1">
          <a:blip r:embed="rId16"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pic>
        <p:nvPicPr>
          <p:cNvPr id="4" name="Рисунок 3"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2" name="Рисунок 1"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spTree>
    <p:extLst>
      <p:ext uri="{BB962C8B-B14F-4D97-AF65-F5344CB8AC3E}">
        <p14:creationId xmlns:p14="http://schemas.microsoft.com/office/powerpoint/2010/main" val="14755710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Заголовок и объект">
    <p:spTree>
      <p:nvGrpSpPr>
        <p:cNvPr id="1" name=""/>
        <p:cNvGrpSpPr/>
        <p:nvPr/>
      </p:nvGrpSpPr>
      <p:grpSpPr>
        <a:xfrm>
          <a:off x="0" y="0"/>
          <a:ext cx="0" cy="0"/>
          <a:chOff x="0" y="0"/>
          <a:chExt cx="0" cy="0"/>
        </a:xfrm>
      </p:grpSpPr>
      <p:sp>
        <p:nvSpPr>
          <p:cNvPr id="6" name="Номер слайда 5">
            <a:extLst>
              <a:ext uri="{FF2B5EF4-FFF2-40B4-BE49-F238E27FC236}">
                <a16:creationId xmlns:a16="http://schemas.microsoft.com/office/drawing/2014/main" id="{07C9C99F-1874-4DEC-9199-237D97772B1B}"/>
              </a:ext>
            </a:extLst>
          </p:cNvPr>
          <p:cNvSpPr>
            <a:spLocks noGrp="1"/>
          </p:cNvSpPr>
          <p:nvPr>
            <p:ph type="sldNum" sz="quarter" idx="12"/>
          </p:nvPr>
        </p:nvSpPr>
        <p:spPr>
          <a:xfrm>
            <a:off x="3727696" y="6126266"/>
            <a:ext cx="521496" cy="365125"/>
          </a:xfrm>
          <a:prstGeom prst="rect">
            <a:avLst/>
          </a:prstGeom>
        </p:spPr>
        <p:txBody>
          <a:bodyPr/>
          <a:lstStyle/>
          <a:p>
            <a:fld id="{054C8753-49EE-4AA4-B7F7-004F2534EA1E}" type="slidenum">
              <a:rPr lang="ru-RU" smtClean="0"/>
              <a:pPr/>
              <a:t>‹#›</a:t>
            </a:fld>
            <a:endParaRPr lang="ru-RU" dirty="0"/>
          </a:p>
        </p:txBody>
      </p:sp>
      <p:pic>
        <p:nvPicPr>
          <p:cNvPr id="3" name="Рисунок 2" descr="http://93A7C4B339CCDD211E158032049A3A49.dms.sberbank.ru/93A7C4B339CCDD211E158032049A3A49-048609E64F524779FACC06A290525D57-028113238EC6D8AC5E862ACF66077798/1.png"/>
          <p:cNvPicPr>
            <a:picLocks/>
          </p:cNvPicPr>
          <p:nvPr userDrawn="1"/>
        </p:nvPicPr>
        <p:blipFill>
          <a:blip r:link="rId2"/>
          <a:stretch>
            <a:fillRect/>
          </a:stretch>
        </p:blipFill>
        <p:spPr>
          <a:xfrm>
            <a:off x="0" y="0"/>
            <a:ext cx="1588" cy="1588"/>
          </a:xfrm>
          <a:prstGeom prst="rect">
            <a:avLst/>
          </a:prstGeom>
        </p:spPr>
      </p:pic>
    </p:spTree>
    <p:extLst>
      <p:ext uri="{BB962C8B-B14F-4D97-AF65-F5344CB8AC3E}">
        <p14:creationId xmlns:p14="http://schemas.microsoft.com/office/powerpoint/2010/main" val="378299035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13_ИТ-внедрения">
    <p:spTree>
      <p:nvGrpSpPr>
        <p:cNvPr id="1" name=""/>
        <p:cNvGrpSpPr/>
        <p:nvPr/>
      </p:nvGrpSpPr>
      <p:grpSpPr>
        <a:xfrm>
          <a:off x="0" y="0"/>
          <a:ext cx="0" cy="0"/>
          <a:chOff x="0" y="0"/>
          <a:chExt cx="0" cy="0"/>
        </a:xfrm>
      </p:grpSpPr>
      <p:sp>
        <p:nvSpPr>
          <p:cNvPr id="37" name="Прямоугольник 36">
            <a:extLst>
              <a:ext uri="{FF2B5EF4-FFF2-40B4-BE49-F238E27FC236}">
                <a16:creationId xmlns:a16="http://schemas.microsoft.com/office/drawing/2014/main" id="{DDFFA306-4E15-E949-9709-F8153EE88F42}"/>
              </a:ext>
            </a:extLst>
          </p:cNvPr>
          <p:cNvSpPr/>
          <p:nvPr userDrawn="1"/>
        </p:nvSpPr>
        <p:spPr>
          <a:xfrm>
            <a:off x="2135560" y="1"/>
            <a:ext cx="1006719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Title 1">
            <a:extLst>
              <a:ext uri="{FF2B5EF4-FFF2-40B4-BE49-F238E27FC236}">
                <a16:creationId xmlns:a16="http://schemas.microsoft.com/office/drawing/2014/main" id="{84988645-5DB7-DE46-AA2C-D6394E2333C6}"/>
              </a:ext>
            </a:extLst>
          </p:cNvPr>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0" name="TextBox 89">
            <a:extLst>
              <a:ext uri="{FF2B5EF4-FFF2-40B4-BE49-F238E27FC236}">
                <a16:creationId xmlns:a16="http://schemas.microsoft.com/office/drawing/2014/main" id="{1DACB476-9A9C-CE43-AAA2-1C3E85359649}"/>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grpSp>
        <p:nvGrpSpPr>
          <p:cNvPr id="57" name="Группа 56">
            <a:extLst>
              <a:ext uri="{FF2B5EF4-FFF2-40B4-BE49-F238E27FC236}">
                <a16:creationId xmlns:a16="http://schemas.microsoft.com/office/drawing/2014/main" id="{3204DC8C-00D6-CC4B-A90F-B012B8D42D31}"/>
              </a:ext>
            </a:extLst>
          </p:cNvPr>
          <p:cNvGrpSpPr/>
          <p:nvPr userDrawn="1"/>
        </p:nvGrpSpPr>
        <p:grpSpPr>
          <a:xfrm>
            <a:off x="0" y="-7200"/>
            <a:ext cx="2148770" cy="553998"/>
            <a:chOff x="0" y="11193"/>
            <a:chExt cx="2148770" cy="553998"/>
          </a:xfrm>
        </p:grpSpPr>
        <p:sp>
          <p:nvSpPr>
            <p:cNvPr id="58" name="Прямоугольник 57">
              <a:extLst>
                <a:ext uri="{FF2B5EF4-FFF2-40B4-BE49-F238E27FC236}">
                  <a16:creationId xmlns:a16="http://schemas.microsoft.com/office/drawing/2014/main" id="{A5BD6F3C-8579-9A4F-97F1-221D0CC58B01}"/>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 name="TextBox 58">
              <a:extLst>
                <a:ext uri="{FF2B5EF4-FFF2-40B4-BE49-F238E27FC236}">
                  <a16:creationId xmlns:a16="http://schemas.microsoft.com/office/drawing/2014/main" id="{F76CE5E0-D155-3142-82A9-31F639B10BE2}"/>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60" name="TextBox 59">
              <a:extLst>
                <a:ext uri="{FF2B5EF4-FFF2-40B4-BE49-F238E27FC236}">
                  <a16:creationId xmlns:a16="http://schemas.microsoft.com/office/drawing/2014/main" id="{9AC2FCB7-455D-3846-AF00-6309D169CDEB}"/>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62" name="Прямоугольник 61">
            <a:extLst>
              <a:ext uri="{FF2B5EF4-FFF2-40B4-BE49-F238E27FC236}">
                <a16:creationId xmlns:a16="http://schemas.microsoft.com/office/drawing/2014/main" id="{9E87F866-470E-C145-8842-311DD7F7B35F}"/>
              </a:ext>
            </a:extLst>
          </p:cNvPr>
          <p:cNvSpPr/>
          <p:nvPr userDrawn="1"/>
        </p:nvSpPr>
        <p:spPr>
          <a:xfrm>
            <a:off x="0" y="313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3" name="TextBox 62">
            <a:extLst>
              <a:ext uri="{FF2B5EF4-FFF2-40B4-BE49-F238E27FC236}">
                <a16:creationId xmlns:a16="http://schemas.microsoft.com/office/drawing/2014/main" id="{5C7FB279-F2D3-714E-92ED-F0026C26782C}"/>
              </a:ext>
            </a:extLst>
          </p:cNvPr>
          <p:cNvSpPr txBox="1"/>
          <p:nvPr userDrawn="1"/>
        </p:nvSpPr>
        <p:spPr>
          <a:xfrm>
            <a:off x="604489" y="32325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64" name="Рисунок 63">
            <a:extLst>
              <a:ext uri="{FF2B5EF4-FFF2-40B4-BE49-F238E27FC236}">
                <a16:creationId xmlns:a16="http://schemas.microsoft.com/office/drawing/2014/main" id="{32E4F3A8-C78F-1048-8D1F-92684DD8BF3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3204000"/>
            <a:ext cx="288000" cy="288000"/>
          </a:xfrm>
          <a:prstGeom prst="rect">
            <a:avLst/>
          </a:prstGeom>
        </p:spPr>
      </p:pic>
      <p:sp>
        <p:nvSpPr>
          <p:cNvPr id="65" name="Прямоугольник 64">
            <a:extLst>
              <a:ext uri="{FF2B5EF4-FFF2-40B4-BE49-F238E27FC236}">
                <a16:creationId xmlns:a16="http://schemas.microsoft.com/office/drawing/2014/main" id="{3EABC97C-9CA4-8E45-81FE-30AD7798833D}"/>
              </a:ext>
            </a:extLst>
          </p:cNvPr>
          <p:cNvSpPr/>
          <p:nvPr userDrawn="1"/>
        </p:nvSpPr>
        <p:spPr>
          <a:xfrm>
            <a:off x="0" y="270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 name="TextBox 65">
            <a:extLst>
              <a:ext uri="{FF2B5EF4-FFF2-40B4-BE49-F238E27FC236}">
                <a16:creationId xmlns:a16="http://schemas.microsoft.com/office/drawing/2014/main" id="{ED815AFE-15DA-324F-ADD8-E2339785B335}"/>
              </a:ext>
            </a:extLst>
          </p:cNvPr>
          <p:cNvSpPr txBox="1"/>
          <p:nvPr userDrawn="1"/>
        </p:nvSpPr>
        <p:spPr>
          <a:xfrm>
            <a:off x="604489" y="28005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67" name="Рисунок 66">
            <a:extLst>
              <a:ext uri="{FF2B5EF4-FFF2-40B4-BE49-F238E27FC236}">
                <a16:creationId xmlns:a16="http://schemas.microsoft.com/office/drawing/2014/main" id="{1B65C54A-16FA-FE4B-95D2-203E345C1B9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9271" y="2772000"/>
            <a:ext cx="288000" cy="288000"/>
          </a:xfrm>
          <a:prstGeom prst="rect">
            <a:avLst/>
          </a:prstGeom>
        </p:spPr>
      </p:pic>
      <p:sp>
        <p:nvSpPr>
          <p:cNvPr id="68" name="Прямоугольник 67">
            <a:extLst>
              <a:ext uri="{FF2B5EF4-FFF2-40B4-BE49-F238E27FC236}">
                <a16:creationId xmlns:a16="http://schemas.microsoft.com/office/drawing/2014/main" id="{1086753F-AFC5-FC4E-92BC-786E7B3F4B79}"/>
              </a:ext>
            </a:extLst>
          </p:cNvPr>
          <p:cNvSpPr/>
          <p:nvPr userDrawn="1"/>
        </p:nvSpPr>
        <p:spPr>
          <a:xfrm>
            <a:off x="0" y="226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 name="TextBox 68">
            <a:extLst>
              <a:ext uri="{FF2B5EF4-FFF2-40B4-BE49-F238E27FC236}">
                <a16:creationId xmlns:a16="http://schemas.microsoft.com/office/drawing/2014/main" id="{B86FA67C-29F4-604E-8A62-5D634E81B9DE}"/>
              </a:ext>
            </a:extLst>
          </p:cNvPr>
          <p:cNvSpPr txBox="1"/>
          <p:nvPr userDrawn="1"/>
        </p:nvSpPr>
        <p:spPr>
          <a:xfrm>
            <a:off x="604489" y="22993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70" name="Рисунок 69">
            <a:extLst>
              <a:ext uri="{FF2B5EF4-FFF2-40B4-BE49-F238E27FC236}">
                <a16:creationId xmlns:a16="http://schemas.microsoft.com/office/drawing/2014/main" id="{A2C03665-9F07-7644-86E8-F2F1D9EC2206}"/>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69271" y="2340000"/>
            <a:ext cx="288000" cy="288000"/>
          </a:xfrm>
          <a:prstGeom prst="rect">
            <a:avLst/>
          </a:prstGeom>
        </p:spPr>
      </p:pic>
      <p:sp>
        <p:nvSpPr>
          <p:cNvPr id="71" name="Прямоугольник 70">
            <a:extLst>
              <a:ext uri="{FF2B5EF4-FFF2-40B4-BE49-F238E27FC236}">
                <a16:creationId xmlns:a16="http://schemas.microsoft.com/office/drawing/2014/main" id="{7579A64F-3789-7644-BF39-7666B0F9017C}"/>
              </a:ext>
            </a:extLst>
          </p:cNvPr>
          <p:cNvSpPr/>
          <p:nvPr userDrawn="1"/>
        </p:nvSpPr>
        <p:spPr>
          <a:xfrm>
            <a:off x="0" y="183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 name="TextBox 71">
            <a:extLst>
              <a:ext uri="{FF2B5EF4-FFF2-40B4-BE49-F238E27FC236}">
                <a16:creationId xmlns:a16="http://schemas.microsoft.com/office/drawing/2014/main" id="{F252FDBC-7306-B944-9A3A-6B1EC16C21DA}"/>
              </a:ext>
            </a:extLst>
          </p:cNvPr>
          <p:cNvSpPr txBox="1"/>
          <p:nvPr userDrawn="1"/>
        </p:nvSpPr>
        <p:spPr>
          <a:xfrm>
            <a:off x="604489" y="18673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73" name="Рисунок 72">
            <a:extLst>
              <a:ext uri="{FF2B5EF4-FFF2-40B4-BE49-F238E27FC236}">
                <a16:creationId xmlns:a16="http://schemas.microsoft.com/office/drawing/2014/main" id="{55B5BA8A-6484-194C-AE62-FDDAFE2F13C6}"/>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169271" y="1908000"/>
            <a:ext cx="288000" cy="288000"/>
          </a:xfrm>
          <a:prstGeom prst="rect">
            <a:avLst/>
          </a:prstGeom>
        </p:spPr>
      </p:pic>
      <p:sp>
        <p:nvSpPr>
          <p:cNvPr id="74" name="Прямоугольник 73">
            <a:extLst>
              <a:ext uri="{FF2B5EF4-FFF2-40B4-BE49-F238E27FC236}">
                <a16:creationId xmlns:a16="http://schemas.microsoft.com/office/drawing/2014/main" id="{3BF7AAB1-4487-A640-8100-04A90A7FBCED}"/>
              </a:ext>
            </a:extLst>
          </p:cNvPr>
          <p:cNvSpPr/>
          <p:nvPr userDrawn="1"/>
        </p:nvSpPr>
        <p:spPr>
          <a:xfrm>
            <a:off x="0" y="442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 name="TextBox 74">
            <a:extLst>
              <a:ext uri="{FF2B5EF4-FFF2-40B4-BE49-F238E27FC236}">
                <a16:creationId xmlns:a16="http://schemas.microsoft.com/office/drawing/2014/main" id="{F9EE6884-3EF7-7D49-A06B-796FD72261B0}"/>
              </a:ext>
            </a:extLst>
          </p:cNvPr>
          <p:cNvSpPr txBox="1"/>
          <p:nvPr userDrawn="1"/>
        </p:nvSpPr>
        <p:spPr>
          <a:xfrm>
            <a:off x="604489" y="45285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76" name="Рисунок 75">
            <a:extLst>
              <a:ext uri="{FF2B5EF4-FFF2-40B4-BE49-F238E27FC236}">
                <a16:creationId xmlns:a16="http://schemas.microsoft.com/office/drawing/2014/main" id="{E47ECFC8-1380-4044-89EB-F729E5ED6AD7}"/>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69271" y="4500000"/>
            <a:ext cx="288000" cy="288000"/>
          </a:xfrm>
          <a:prstGeom prst="rect">
            <a:avLst/>
          </a:prstGeom>
        </p:spPr>
      </p:pic>
      <p:sp>
        <p:nvSpPr>
          <p:cNvPr id="77" name="Прямоугольник 76">
            <a:extLst>
              <a:ext uri="{FF2B5EF4-FFF2-40B4-BE49-F238E27FC236}">
                <a16:creationId xmlns:a16="http://schemas.microsoft.com/office/drawing/2014/main" id="{5E0368B5-7EC1-9441-B9DA-57F07877F1FA}"/>
              </a:ext>
            </a:extLst>
          </p:cNvPr>
          <p:cNvSpPr/>
          <p:nvPr userDrawn="1"/>
        </p:nvSpPr>
        <p:spPr>
          <a:xfrm>
            <a:off x="0" y="356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 name="TextBox 77">
            <a:extLst>
              <a:ext uri="{FF2B5EF4-FFF2-40B4-BE49-F238E27FC236}">
                <a16:creationId xmlns:a16="http://schemas.microsoft.com/office/drawing/2014/main" id="{D233AE29-F3C8-B346-BEA2-1292D0F9D499}"/>
              </a:ext>
            </a:extLst>
          </p:cNvPr>
          <p:cNvSpPr txBox="1"/>
          <p:nvPr userDrawn="1"/>
        </p:nvSpPr>
        <p:spPr>
          <a:xfrm>
            <a:off x="604489" y="36645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79" name="Рисунок 78">
            <a:extLst>
              <a:ext uri="{FF2B5EF4-FFF2-40B4-BE49-F238E27FC236}">
                <a16:creationId xmlns:a16="http://schemas.microsoft.com/office/drawing/2014/main" id="{B36C9A63-1EE0-1442-A27C-73DC0FE2A26D}"/>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69271" y="3636000"/>
            <a:ext cx="288000" cy="288000"/>
          </a:xfrm>
          <a:prstGeom prst="rect">
            <a:avLst/>
          </a:prstGeom>
        </p:spPr>
      </p:pic>
      <p:sp>
        <p:nvSpPr>
          <p:cNvPr id="80" name="Прямоугольник 79">
            <a:extLst>
              <a:ext uri="{FF2B5EF4-FFF2-40B4-BE49-F238E27FC236}">
                <a16:creationId xmlns:a16="http://schemas.microsoft.com/office/drawing/2014/main" id="{D5F8CEF5-E90A-6446-B143-4CBE695E90E5}"/>
              </a:ext>
            </a:extLst>
          </p:cNvPr>
          <p:cNvSpPr/>
          <p:nvPr userDrawn="1"/>
        </p:nvSpPr>
        <p:spPr>
          <a:xfrm>
            <a:off x="0" y="399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 name="TextBox 80">
            <a:extLst>
              <a:ext uri="{FF2B5EF4-FFF2-40B4-BE49-F238E27FC236}">
                <a16:creationId xmlns:a16="http://schemas.microsoft.com/office/drawing/2014/main" id="{11AA4665-BE6E-6544-A2E3-8ACDFA32037F}"/>
              </a:ext>
            </a:extLst>
          </p:cNvPr>
          <p:cNvSpPr txBox="1"/>
          <p:nvPr userDrawn="1"/>
        </p:nvSpPr>
        <p:spPr>
          <a:xfrm>
            <a:off x="604489" y="40965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82" name="Рисунок 81">
            <a:extLst>
              <a:ext uri="{FF2B5EF4-FFF2-40B4-BE49-F238E27FC236}">
                <a16:creationId xmlns:a16="http://schemas.microsoft.com/office/drawing/2014/main" id="{767BE6A3-B4CE-8D46-82FD-66A60F6FAC62}"/>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69271" y="4068000"/>
            <a:ext cx="288000" cy="288000"/>
          </a:xfrm>
          <a:prstGeom prst="rect">
            <a:avLst/>
          </a:prstGeom>
        </p:spPr>
      </p:pic>
      <p:sp>
        <p:nvSpPr>
          <p:cNvPr id="83" name="Прямоугольник 82">
            <a:extLst>
              <a:ext uri="{FF2B5EF4-FFF2-40B4-BE49-F238E27FC236}">
                <a16:creationId xmlns:a16="http://schemas.microsoft.com/office/drawing/2014/main" id="{3303DB7D-72DB-D445-A492-293F5CF0CB60}"/>
              </a:ext>
            </a:extLst>
          </p:cNvPr>
          <p:cNvSpPr/>
          <p:nvPr userDrawn="1"/>
        </p:nvSpPr>
        <p:spPr>
          <a:xfrm>
            <a:off x="0" y="97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 name="TextBox 83">
            <a:extLst>
              <a:ext uri="{FF2B5EF4-FFF2-40B4-BE49-F238E27FC236}">
                <a16:creationId xmlns:a16="http://schemas.microsoft.com/office/drawing/2014/main" id="{0EC0FF97-4FB9-8F42-AC0D-77CBEFCB5F80}"/>
              </a:ext>
            </a:extLst>
          </p:cNvPr>
          <p:cNvSpPr txBox="1"/>
          <p:nvPr userDrawn="1"/>
        </p:nvSpPr>
        <p:spPr>
          <a:xfrm>
            <a:off x="604489" y="10725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85" name="Рисунок 84">
            <a:extLst>
              <a:ext uri="{FF2B5EF4-FFF2-40B4-BE49-F238E27FC236}">
                <a16:creationId xmlns:a16="http://schemas.microsoft.com/office/drawing/2014/main" id="{08C060D3-1ABB-954D-9DE4-DB091D876572}"/>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69271" y="1044000"/>
            <a:ext cx="288000" cy="288000"/>
          </a:xfrm>
          <a:prstGeom prst="rect">
            <a:avLst/>
          </a:prstGeom>
        </p:spPr>
      </p:pic>
      <p:sp>
        <p:nvSpPr>
          <p:cNvPr id="86" name="Прямоугольник 85">
            <a:extLst>
              <a:ext uri="{FF2B5EF4-FFF2-40B4-BE49-F238E27FC236}">
                <a16:creationId xmlns:a16="http://schemas.microsoft.com/office/drawing/2014/main" id="{DA358D83-886A-D54D-9290-396D66205888}"/>
              </a:ext>
            </a:extLst>
          </p:cNvPr>
          <p:cNvSpPr/>
          <p:nvPr userDrawn="1"/>
        </p:nvSpPr>
        <p:spPr>
          <a:xfrm>
            <a:off x="0" y="486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 name="TextBox 86">
            <a:extLst>
              <a:ext uri="{FF2B5EF4-FFF2-40B4-BE49-F238E27FC236}">
                <a16:creationId xmlns:a16="http://schemas.microsoft.com/office/drawing/2014/main" id="{C27ECD3D-559B-CA45-B98E-E5DB0A983AD6}"/>
              </a:ext>
            </a:extLst>
          </p:cNvPr>
          <p:cNvSpPr txBox="1"/>
          <p:nvPr userDrawn="1"/>
        </p:nvSpPr>
        <p:spPr>
          <a:xfrm>
            <a:off x="604489" y="49605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88" name="Рисунок 87">
            <a:extLst>
              <a:ext uri="{FF2B5EF4-FFF2-40B4-BE49-F238E27FC236}">
                <a16:creationId xmlns:a16="http://schemas.microsoft.com/office/drawing/2014/main" id="{FCC4A12B-BBB2-7E4B-8C9D-3B3F9D67365A}"/>
              </a:ext>
            </a:extLst>
          </p:cNvPr>
          <p:cNvPicPr>
            <a:picLocks noChangeAspect="1"/>
          </p:cNvPicPr>
          <p:nvPr userDrawn="1"/>
        </p:nvPicPr>
        <p:blipFill>
          <a:blip r:embed="rId10" cstate="hqprint">
            <a:extLst>
              <a:ext uri="{28A0092B-C50C-407E-A947-70E740481C1C}">
                <a14:useLocalDpi xmlns:a14="http://schemas.microsoft.com/office/drawing/2010/main" val="0"/>
              </a:ext>
            </a:extLst>
          </a:blip>
          <a:stretch>
            <a:fillRect/>
          </a:stretch>
        </p:blipFill>
        <p:spPr>
          <a:xfrm>
            <a:off x="169271" y="4932000"/>
            <a:ext cx="288000" cy="288000"/>
          </a:xfrm>
          <a:prstGeom prst="rect">
            <a:avLst/>
          </a:prstGeom>
        </p:spPr>
      </p:pic>
      <p:sp>
        <p:nvSpPr>
          <p:cNvPr id="89" name="Прямоугольник 88">
            <a:extLst>
              <a:ext uri="{FF2B5EF4-FFF2-40B4-BE49-F238E27FC236}">
                <a16:creationId xmlns:a16="http://schemas.microsoft.com/office/drawing/2014/main" id="{20D4FFB4-007A-B44A-8698-D43D037B3515}"/>
              </a:ext>
            </a:extLst>
          </p:cNvPr>
          <p:cNvSpPr/>
          <p:nvPr userDrawn="1"/>
        </p:nvSpPr>
        <p:spPr>
          <a:xfrm>
            <a:off x="0" y="140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0" name="TextBox 99">
            <a:extLst>
              <a:ext uri="{FF2B5EF4-FFF2-40B4-BE49-F238E27FC236}">
                <a16:creationId xmlns:a16="http://schemas.microsoft.com/office/drawing/2014/main" id="{879D4E54-1AAB-F842-84E1-7B3E1BCF8A89}"/>
              </a:ext>
            </a:extLst>
          </p:cNvPr>
          <p:cNvSpPr txBox="1"/>
          <p:nvPr userDrawn="1"/>
        </p:nvSpPr>
        <p:spPr>
          <a:xfrm>
            <a:off x="604489" y="15045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101" name="Рисунок 100">
            <a:extLst>
              <a:ext uri="{FF2B5EF4-FFF2-40B4-BE49-F238E27FC236}">
                <a16:creationId xmlns:a16="http://schemas.microsoft.com/office/drawing/2014/main" id="{9F6E8E67-2134-6746-9960-67133E72DEF9}"/>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69270" y="1476000"/>
            <a:ext cx="288000" cy="288000"/>
          </a:xfrm>
          <a:prstGeom prst="rect">
            <a:avLst/>
          </a:prstGeom>
        </p:spPr>
      </p:pic>
      <p:sp>
        <p:nvSpPr>
          <p:cNvPr id="105" name="Прямоугольник 104">
            <a:extLst>
              <a:ext uri="{FF2B5EF4-FFF2-40B4-BE49-F238E27FC236}">
                <a16:creationId xmlns:a16="http://schemas.microsoft.com/office/drawing/2014/main" id="{C7B065E1-3737-DA47-A21A-8C04F014A130}"/>
              </a:ext>
            </a:extLst>
          </p:cNvPr>
          <p:cNvSpPr/>
          <p:nvPr userDrawn="1"/>
        </p:nvSpPr>
        <p:spPr>
          <a:xfrm>
            <a:off x="0" y="54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8" name="TextBox 107">
            <a:extLst>
              <a:ext uri="{FF2B5EF4-FFF2-40B4-BE49-F238E27FC236}">
                <a16:creationId xmlns:a16="http://schemas.microsoft.com/office/drawing/2014/main" id="{A2EB8D49-44A1-4A4F-A665-A3344CAA3365}"/>
              </a:ext>
            </a:extLst>
          </p:cNvPr>
          <p:cNvSpPr txBox="1"/>
          <p:nvPr userDrawn="1"/>
        </p:nvSpPr>
        <p:spPr>
          <a:xfrm>
            <a:off x="604489" y="6405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109" name="Рисунок 108">
            <a:extLst>
              <a:ext uri="{FF2B5EF4-FFF2-40B4-BE49-F238E27FC236}">
                <a16:creationId xmlns:a16="http://schemas.microsoft.com/office/drawing/2014/main" id="{0A91E382-6A64-AB4E-BAB2-F264BD0B22C0}"/>
              </a:ext>
            </a:extLst>
          </p:cNvPr>
          <p:cNvPicPr>
            <a:picLocks noChangeAspect="1"/>
          </p:cNvPicPr>
          <p:nvPr userDrawn="1"/>
        </p:nvPicPr>
        <p:blipFill>
          <a:blip r:embed="rId12" cstate="hqprint">
            <a:extLst>
              <a:ext uri="{28A0092B-C50C-407E-A947-70E740481C1C}">
                <a14:useLocalDpi xmlns:a14="http://schemas.microsoft.com/office/drawing/2010/main" val="0"/>
              </a:ext>
            </a:extLst>
          </a:blip>
          <a:stretch>
            <a:fillRect/>
          </a:stretch>
        </p:blipFill>
        <p:spPr>
          <a:xfrm>
            <a:off x="169271" y="612000"/>
            <a:ext cx="288000" cy="288000"/>
          </a:xfrm>
          <a:prstGeom prst="rect">
            <a:avLst/>
          </a:prstGeom>
        </p:spPr>
      </p:pic>
      <p:sp>
        <p:nvSpPr>
          <p:cNvPr id="110" name="Прямоугольник 109">
            <a:extLst>
              <a:ext uri="{FF2B5EF4-FFF2-40B4-BE49-F238E27FC236}">
                <a16:creationId xmlns:a16="http://schemas.microsoft.com/office/drawing/2014/main" id="{D7B5DFA6-8E5D-4142-9A69-DBAB5A845C87}"/>
              </a:ext>
            </a:extLst>
          </p:cNvPr>
          <p:cNvSpPr/>
          <p:nvPr userDrawn="1"/>
        </p:nvSpPr>
        <p:spPr>
          <a:xfrm>
            <a:off x="0" y="572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1" name="TextBox 110">
            <a:extLst>
              <a:ext uri="{FF2B5EF4-FFF2-40B4-BE49-F238E27FC236}">
                <a16:creationId xmlns:a16="http://schemas.microsoft.com/office/drawing/2014/main" id="{C05285A9-C78B-CA4F-B15E-86EC9B34D6BE}"/>
              </a:ext>
            </a:extLst>
          </p:cNvPr>
          <p:cNvSpPr txBox="1"/>
          <p:nvPr userDrawn="1"/>
        </p:nvSpPr>
        <p:spPr>
          <a:xfrm>
            <a:off x="604489" y="58245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112" name="Рисунок 111">
            <a:extLst>
              <a:ext uri="{FF2B5EF4-FFF2-40B4-BE49-F238E27FC236}">
                <a16:creationId xmlns:a16="http://schemas.microsoft.com/office/drawing/2014/main" id="{E9E2D4E6-5E28-944A-A33C-6B1997C10EEA}"/>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69271" y="5796000"/>
            <a:ext cx="288000" cy="288000"/>
          </a:xfrm>
          <a:prstGeom prst="rect">
            <a:avLst/>
          </a:prstGeom>
        </p:spPr>
      </p:pic>
      <p:sp>
        <p:nvSpPr>
          <p:cNvPr id="113" name="Прямоугольник 112">
            <a:extLst>
              <a:ext uri="{FF2B5EF4-FFF2-40B4-BE49-F238E27FC236}">
                <a16:creationId xmlns:a16="http://schemas.microsoft.com/office/drawing/2014/main" id="{BAB6EAD4-0B11-C842-BEB6-C727F45B5F9A}"/>
              </a:ext>
            </a:extLst>
          </p:cNvPr>
          <p:cNvSpPr/>
          <p:nvPr userDrawn="1"/>
        </p:nvSpPr>
        <p:spPr>
          <a:xfrm>
            <a:off x="0" y="615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4" name="TextBox 113">
            <a:extLst>
              <a:ext uri="{FF2B5EF4-FFF2-40B4-BE49-F238E27FC236}">
                <a16:creationId xmlns:a16="http://schemas.microsoft.com/office/drawing/2014/main" id="{6884F00B-B497-4F4D-98B5-140F57BB5F00}"/>
              </a:ext>
            </a:extLst>
          </p:cNvPr>
          <p:cNvSpPr txBox="1"/>
          <p:nvPr userDrawn="1"/>
        </p:nvSpPr>
        <p:spPr>
          <a:xfrm>
            <a:off x="604489" y="62565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115" name="Рисунок 114">
            <a:extLst>
              <a:ext uri="{FF2B5EF4-FFF2-40B4-BE49-F238E27FC236}">
                <a16:creationId xmlns:a16="http://schemas.microsoft.com/office/drawing/2014/main" id="{B2CFEE18-0D9B-604A-B78B-3204A7CEC07C}"/>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6228000"/>
            <a:ext cx="288000" cy="288000"/>
          </a:xfrm>
          <a:prstGeom prst="rect">
            <a:avLst/>
          </a:prstGeom>
        </p:spPr>
      </p:pic>
      <p:sp>
        <p:nvSpPr>
          <p:cNvPr id="185" name="Прямоугольник 184">
            <a:extLst>
              <a:ext uri="{FF2B5EF4-FFF2-40B4-BE49-F238E27FC236}">
                <a16:creationId xmlns:a16="http://schemas.microsoft.com/office/drawing/2014/main" id="{890AE502-6D2D-9840-AA20-BE4F59893916}"/>
              </a:ext>
            </a:extLst>
          </p:cNvPr>
          <p:cNvSpPr/>
          <p:nvPr userDrawn="1"/>
        </p:nvSpPr>
        <p:spPr>
          <a:xfrm>
            <a:off x="0" y="52920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86" name="TextBox 185">
            <a:extLst>
              <a:ext uri="{FF2B5EF4-FFF2-40B4-BE49-F238E27FC236}">
                <a16:creationId xmlns:a16="http://schemas.microsoft.com/office/drawing/2014/main" id="{E20B85DD-FC8D-6241-9AA6-6C4DD4278170}"/>
              </a:ext>
            </a:extLst>
          </p:cNvPr>
          <p:cNvSpPr txBox="1"/>
          <p:nvPr userDrawn="1"/>
        </p:nvSpPr>
        <p:spPr>
          <a:xfrm>
            <a:off x="604489" y="5392584"/>
            <a:ext cx="1439290" cy="230832"/>
          </a:xfrm>
          <a:prstGeom prst="rect">
            <a:avLst/>
          </a:prstGeom>
          <a:noFill/>
        </p:spPr>
        <p:txBody>
          <a:bodyPr wrap="square" rtlCol="0" anchor="ctr">
            <a:spAutoFit/>
          </a:bodyPr>
          <a:lstStyle/>
          <a:p>
            <a:r>
              <a:rPr lang="en-US" sz="900" b="1" dirty="0">
                <a:solidFill>
                  <a:schemeClr val="bg1"/>
                </a:solidFill>
              </a:rPr>
              <a:t>IT-</a:t>
            </a:r>
            <a:r>
              <a:rPr lang="ru-RU" sz="900" b="1" dirty="0">
                <a:solidFill>
                  <a:schemeClr val="bg1"/>
                </a:solidFill>
              </a:rPr>
              <a:t>внедрения</a:t>
            </a:r>
          </a:p>
        </p:txBody>
      </p:sp>
      <p:pic>
        <p:nvPicPr>
          <p:cNvPr id="187" name="Рисунок 186">
            <a:extLst>
              <a:ext uri="{FF2B5EF4-FFF2-40B4-BE49-F238E27FC236}">
                <a16:creationId xmlns:a16="http://schemas.microsoft.com/office/drawing/2014/main" id="{58722B2D-4C96-8A4B-BB84-32A648579FA1}"/>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171523" y="5364000"/>
            <a:ext cx="288000" cy="288000"/>
          </a:xfrm>
          <a:prstGeom prst="rect">
            <a:avLst/>
          </a:prstGeom>
        </p:spPr>
      </p:pic>
      <p:sp>
        <p:nvSpPr>
          <p:cNvPr id="53" name="Прямоугольник 52">
            <a:extLst>
              <a:ext uri="{FF2B5EF4-FFF2-40B4-BE49-F238E27FC236}">
                <a16:creationId xmlns:a16="http://schemas.microsoft.com/office/drawing/2014/main" id="{1C0D21BB-EDFE-D944-A87E-D59C6F702564}"/>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4" name="Рисунок 53">
            <a:extLst>
              <a:ext uri="{FF2B5EF4-FFF2-40B4-BE49-F238E27FC236}">
                <a16:creationId xmlns:a16="http://schemas.microsoft.com/office/drawing/2014/main" id="{A0850A7D-A225-724F-B822-833A0B52EF2D}"/>
              </a:ext>
            </a:extLst>
          </p:cNvPr>
          <p:cNvPicPr>
            <a:picLocks noChangeAspect="1"/>
          </p:cNvPicPr>
          <p:nvPr userDrawn="1"/>
        </p:nvPicPr>
        <p:blipFill rotWithShape="1">
          <a:blip r:embed="rId16"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pic>
        <p:nvPicPr>
          <p:cNvPr id="4" name="Рисунок 3"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2" name="Рисунок 1"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spTree>
    <p:extLst>
      <p:ext uri="{BB962C8B-B14F-4D97-AF65-F5344CB8AC3E}">
        <p14:creationId xmlns:p14="http://schemas.microsoft.com/office/powerpoint/2010/main" val="744185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4_Housekeeping dashboard">
    <p:spTree>
      <p:nvGrpSpPr>
        <p:cNvPr id="1" name=""/>
        <p:cNvGrpSpPr/>
        <p:nvPr/>
      </p:nvGrpSpPr>
      <p:grpSpPr>
        <a:xfrm>
          <a:off x="0" y="0"/>
          <a:ext cx="0" cy="0"/>
          <a:chOff x="0" y="0"/>
          <a:chExt cx="0" cy="0"/>
        </a:xfrm>
      </p:grpSpPr>
      <p:sp>
        <p:nvSpPr>
          <p:cNvPr id="37" name="Прямоугольник 36">
            <a:extLst>
              <a:ext uri="{FF2B5EF4-FFF2-40B4-BE49-F238E27FC236}">
                <a16:creationId xmlns:a16="http://schemas.microsoft.com/office/drawing/2014/main" id="{BC8E6E5D-70F2-E24E-8A30-5CA5A090B08D}"/>
              </a:ext>
            </a:extLst>
          </p:cNvPr>
          <p:cNvSpPr/>
          <p:nvPr userDrawn="1"/>
        </p:nvSpPr>
        <p:spPr>
          <a:xfrm>
            <a:off x="2135560" y="1"/>
            <a:ext cx="1006719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Title 1">
            <a:extLst>
              <a:ext uri="{FF2B5EF4-FFF2-40B4-BE49-F238E27FC236}">
                <a16:creationId xmlns:a16="http://schemas.microsoft.com/office/drawing/2014/main" id="{F30FEF1C-CDC7-324E-9731-D4FD1762AC6F}"/>
              </a:ext>
            </a:extLst>
          </p:cNvPr>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0" name="TextBox 89">
            <a:extLst>
              <a:ext uri="{FF2B5EF4-FFF2-40B4-BE49-F238E27FC236}">
                <a16:creationId xmlns:a16="http://schemas.microsoft.com/office/drawing/2014/main" id="{48DA50FF-3032-8C46-87C8-0834FD4A605A}"/>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grpSp>
        <p:nvGrpSpPr>
          <p:cNvPr id="57" name="Группа 56">
            <a:extLst>
              <a:ext uri="{FF2B5EF4-FFF2-40B4-BE49-F238E27FC236}">
                <a16:creationId xmlns:a16="http://schemas.microsoft.com/office/drawing/2014/main" id="{FCF68C8F-D679-ED4D-9405-6C66367F54E3}"/>
              </a:ext>
            </a:extLst>
          </p:cNvPr>
          <p:cNvGrpSpPr/>
          <p:nvPr userDrawn="1"/>
        </p:nvGrpSpPr>
        <p:grpSpPr>
          <a:xfrm>
            <a:off x="0" y="-7200"/>
            <a:ext cx="2148770" cy="553998"/>
            <a:chOff x="0" y="11193"/>
            <a:chExt cx="2148770" cy="553998"/>
          </a:xfrm>
        </p:grpSpPr>
        <p:sp>
          <p:nvSpPr>
            <p:cNvPr id="58" name="Прямоугольник 57">
              <a:extLst>
                <a:ext uri="{FF2B5EF4-FFF2-40B4-BE49-F238E27FC236}">
                  <a16:creationId xmlns:a16="http://schemas.microsoft.com/office/drawing/2014/main" id="{C251325C-84DA-C841-AC5D-81DC5243AD3A}"/>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 name="TextBox 58">
              <a:extLst>
                <a:ext uri="{FF2B5EF4-FFF2-40B4-BE49-F238E27FC236}">
                  <a16:creationId xmlns:a16="http://schemas.microsoft.com/office/drawing/2014/main" id="{9A50D578-C8D0-0245-B07C-1B4EDA98D6D2}"/>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60" name="TextBox 59">
              <a:extLst>
                <a:ext uri="{FF2B5EF4-FFF2-40B4-BE49-F238E27FC236}">
                  <a16:creationId xmlns:a16="http://schemas.microsoft.com/office/drawing/2014/main" id="{9C44079C-4446-A748-A098-EE007009CBB7}"/>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62" name="Прямоугольник 61">
            <a:extLst>
              <a:ext uri="{FF2B5EF4-FFF2-40B4-BE49-F238E27FC236}">
                <a16:creationId xmlns:a16="http://schemas.microsoft.com/office/drawing/2014/main" id="{ABC53B92-3877-E24B-9891-0C324F843531}"/>
              </a:ext>
            </a:extLst>
          </p:cNvPr>
          <p:cNvSpPr/>
          <p:nvPr userDrawn="1"/>
        </p:nvSpPr>
        <p:spPr>
          <a:xfrm>
            <a:off x="0" y="313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3" name="TextBox 62">
            <a:extLst>
              <a:ext uri="{FF2B5EF4-FFF2-40B4-BE49-F238E27FC236}">
                <a16:creationId xmlns:a16="http://schemas.microsoft.com/office/drawing/2014/main" id="{BDCB41B9-E853-0C43-9A5E-3BCF890CE556}"/>
              </a:ext>
            </a:extLst>
          </p:cNvPr>
          <p:cNvSpPr txBox="1"/>
          <p:nvPr userDrawn="1"/>
        </p:nvSpPr>
        <p:spPr>
          <a:xfrm>
            <a:off x="604489" y="32325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64" name="Рисунок 63">
            <a:extLst>
              <a:ext uri="{FF2B5EF4-FFF2-40B4-BE49-F238E27FC236}">
                <a16:creationId xmlns:a16="http://schemas.microsoft.com/office/drawing/2014/main" id="{27B3AF6D-DA74-9B4D-8AF5-0E04E2C64BE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3204000"/>
            <a:ext cx="288000" cy="288000"/>
          </a:xfrm>
          <a:prstGeom prst="rect">
            <a:avLst/>
          </a:prstGeom>
        </p:spPr>
      </p:pic>
      <p:sp>
        <p:nvSpPr>
          <p:cNvPr id="65" name="Прямоугольник 64">
            <a:extLst>
              <a:ext uri="{FF2B5EF4-FFF2-40B4-BE49-F238E27FC236}">
                <a16:creationId xmlns:a16="http://schemas.microsoft.com/office/drawing/2014/main" id="{B98B1AC4-52D0-0049-9945-FCD3B7581CC1}"/>
              </a:ext>
            </a:extLst>
          </p:cNvPr>
          <p:cNvSpPr/>
          <p:nvPr userDrawn="1"/>
        </p:nvSpPr>
        <p:spPr>
          <a:xfrm>
            <a:off x="0" y="270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 name="TextBox 65">
            <a:extLst>
              <a:ext uri="{FF2B5EF4-FFF2-40B4-BE49-F238E27FC236}">
                <a16:creationId xmlns:a16="http://schemas.microsoft.com/office/drawing/2014/main" id="{CBC6A984-A57C-7C45-B4DB-1312F04E3AFD}"/>
              </a:ext>
            </a:extLst>
          </p:cNvPr>
          <p:cNvSpPr txBox="1"/>
          <p:nvPr userDrawn="1"/>
        </p:nvSpPr>
        <p:spPr>
          <a:xfrm>
            <a:off x="604489" y="28005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67" name="Рисунок 66">
            <a:extLst>
              <a:ext uri="{FF2B5EF4-FFF2-40B4-BE49-F238E27FC236}">
                <a16:creationId xmlns:a16="http://schemas.microsoft.com/office/drawing/2014/main" id="{27DFA1E5-0CA2-204B-91E7-A81F44A6494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9271" y="2772000"/>
            <a:ext cx="288000" cy="288000"/>
          </a:xfrm>
          <a:prstGeom prst="rect">
            <a:avLst/>
          </a:prstGeom>
        </p:spPr>
      </p:pic>
      <p:sp>
        <p:nvSpPr>
          <p:cNvPr id="68" name="Прямоугольник 67">
            <a:extLst>
              <a:ext uri="{FF2B5EF4-FFF2-40B4-BE49-F238E27FC236}">
                <a16:creationId xmlns:a16="http://schemas.microsoft.com/office/drawing/2014/main" id="{487DB0E0-2302-BF49-8F24-15183E5A8FF5}"/>
              </a:ext>
            </a:extLst>
          </p:cNvPr>
          <p:cNvSpPr/>
          <p:nvPr userDrawn="1"/>
        </p:nvSpPr>
        <p:spPr>
          <a:xfrm>
            <a:off x="0" y="226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 name="TextBox 68">
            <a:extLst>
              <a:ext uri="{FF2B5EF4-FFF2-40B4-BE49-F238E27FC236}">
                <a16:creationId xmlns:a16="http://schemas.microsoft.com/office/drawing/2014/main" id="{931D5255-3E6C-5F46-917B-E67E45DC9CED}"/>
              </a:ext>
            </a:extLst>
          </p:cNvPr>
          <p:cNvSpPr txBox="1"/>
          <p:nvPr userDrawn="1"/>
        </p:nvSpPr>
        <p:spPr>
          <a:xfrm>
            <a:off x="604489" y="22993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70" name="Рисунок 69">
            <a:extLst>
              <a:ext uri="{FF2B5EF4-FFF2-40B4-BE49-F238E27FC236}">
                <a16:creationId xmlns:a16="http://schemas.microsoft.com/office/drawing/2014/main" id="{DC326296-C91A-2E46-AE36-E632D4C576A0}"/>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69271" y="2340000"/>
            <a:ext cx="288000" cy="288000"/>
          </a:xfrm>
          <a:prstGeom prst="rect">
            <a:avLst/>
          </a:prstGeom>
        </p:spPr>
      </p:pic>
      <p:sp>
        <p:nvSpPr>
          <p:cNvPr id="71" name="Прямоугольник 70">
            <a:extLst>
              <a:ext uri="{FF2B5EF4-FFF2-40B4-BE49-F238E27FC236}">
                <a16:creationId xmlns:a16="http://schemas.microsoft.com/office/drawing/2014/main" id="{015693F7-2B66-D846-8B02-D11551B94B40}"/>
              </a:ext>
            </a:extLst>
          </p:cNvPr>
          <p:cNvSpPr/>
          <p:nvPr userDrawn="1"/>
        </p:nvSpPr>
        <p:spPr>
          <a:xfrm>
            <a:off x="0" y="183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 name="TextBox 71">
            <a:extLst>
              <a:ext uri="{FF2B5EF4-FFF2-40B4-BE49-F238E27FC236}">
                <a16:creationId xmlns:a16="http://schemas.microsoft.com/office/drawing/2014/main" id="{B88EA959-27DF-FA4D-8C28-7DE73B48C506}"/>
              </a:ext>
            </a:extLst>
          </p:cNvPr>
          <p:cNvSpPr txBox="1"/>
          <p:nvPr userDrawn="1"/>
        </p:nvSpPr>
        <p:spPr>
          <a:xfrm>
            <a:off x="604489" y="18673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73" name="Рисунок 72">
            <a:extLst>
              <a:ext uri="{FF2B5EF4-FFF2-40B4-BE49-F238E27FC236}">
                <a16:creationId xmlns:a16="http://schemas.microsoft.com/office/drawing/2014/main" id="{2AC9A54F-C03C-D642-B560-FA7B70135B8B}"/>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169271" y="1908000"/>
            <a:ext cx="288000" cy="288000"/>
          </a:xfrm>
          <a:prstGeom prst="rect">
            <a:avLst/>
          </a:prstGeom>
        </p:spPr>
      </p:pic>
      <p:sp>
        <p:nvSpPr>
          <p:cNvPr id="74" name="Прямоугольник 73">
            <a:extLst>
              <a:ext uri="{FF2B5EF4-FFF2-40B4-BE49-F238E27FC236}">
                <a16:creationId xmlns:a16="http://schemas.microsoft.com/office/drawing/2014/main" id="{9794F5C4-9DCC-2D46-B91E-75A507CA2F52}"/>
              </a:ext>
            </a:extLst>
          </p:cNvPr>
          <p:cNvSpPr/>
          <p:nvPr userDrawn="1"/>
        </p:nvSpPr>
        <p:spPr>
          <a:xfrm>
            <a:off x="0" y="442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 name="TextBox 74">
            <a:extLst>
              <a:ext uri="{FF2B5EF4-FFF2-40B4-BE49-F238E27FC236}">
                <a16:creationId xmlns:a16="http://schemas.microsoft.com/office/drawing/2014/main" id="{6EB06C74-61BA-1744-B22E-AB27180DF331}"/>
              </a:ext>
            </a:extLst>
          </p:cNvPr>
          <p:cNvSpPr txBox="1"/>
          <p:nvPr userDrawn="1"/>
        </p:nvSpPr>
        <p:spPr>
          <a:xfrm>
            <a:off x="604489" y="45285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76" name="Рисунок 75">
            <a:extLst>
              <a:ext uri="{FF2B5EF4-FFF2-40B4-BE49-F238E27FC236}">
                <a16:creationId xmlns:a16="http://schemas.microsoft.com/office/drawing/2014/main" id="{27E936D3-0B22-4A45-9F9F-602D57660630}"/>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69271" y="4500000"/>
            <a:ext cx="288000" cy="288000"/>
          </a:xfrm>
          <a:prstGeom prst="rect">
            <a:avLst/>
          </a:prstGeom>
        </p:spPr>
      </p:pic>
      <p:sp>
        <p:nvSpPr>
          <p:cNvPr id="77" name="Прямоугольник 76">
            <a:extLst>
              <a:ext uri="{FF2B5EF4-FFF2-40B4-BE49-F238E27FC236}">
                <a16:creationId xmlns:a16="http://schemas.microsoft.com/office/drawing/2014/main" id="{2334DA49-7E78-7D48-A3B1-9F9AF62CF641}"/>
              </a:ext>
            </a:extLst>
          </p:cNvPr>
          <p:cNvSpPr/>
          <p:nvPr userDrawn="1"/>
        </p:nvSpPr>
        <p:spPr>
          <a:xfrm>
            <a:off x="0" y="356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 name="TextBox 77">
            <a:extLst>
              <a:ext uri="{FF2B5EF4-FFF2-40B4-BE49-F238E27FC236}">
                <a16:creationId xmlns:a16="http://schemas.microsoft.com/office/drawing/2014/main" id="{C261CCDE-B025-6146-811E-C20EB9ACB2D7}"/>
              </a:ext>
            </a:extLst>
          </p:cNvPr>
          <p:cNvSpPr txBox="1"/>
          <p:nvPr userDrawn="1"/>
        </p:nvSpPr>
        <p:spPr>
          <a:xfrm>
            <a:off x="604489" y="36645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79" name="Рисунок 78">
            <a:extLst>
              <a:ext uri="{FF2B5EF4-FFF2-40B4-BE49-F238E27FC236}">
                <a16:creationId xmlns:a16="http://schemas.microsoft.com/office/drawing/2014/main" id="{A3ED3DEC-7028-B541-AFF7-361A8DFF78CC}"/>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69271" y="3636000"/>
            <a:ext cx="288000" cy="288000"/>
          </a:xfrm>
          <a:prstGeom prst="rect">
            <a:avLst/>
          </a:prstGeom>
        </p:spPr>
      </p:pic>
      <p:sp>
        <p:nvSpPr>
          <p:cNvPr id="80" name="Прямоугольник 79">
            <a:extLst>
              <a:ext uri="{FF2B5EF4-FFF2-40B4-BE49-F238E27FC236}">
                <a16:creationId xmlns:a16="http://schemas.microsoft.com/office/drawing/2014/main" id="{CC132977-CBD0-1B40-BF2A-E6FF59AF80D9}"/>
              </a:ext>
            </a:extLst>
          </p:cNvPr>
          <p:cNvSpPr/>
          <p:nvPr userDrawn="1"/>
        </p:nvSpPr>
        <p:spPr>
          <a:xfrm>
            <a:off x="0" y="399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 name="TextBox 80">
            <a:extLst>
              <a:ext uri="{FF2B5EF4-FFF2-40B4-BE49-F238E27FC236}">
                <a16:creationId xmlns:a16="http://schemas.microsoft.com/office/drawing/2014/main" id="{3E32EF39-2D0D-8144-869A-44EA3BD47CAC}"/>
              </a:ext>
            </a:extLst>
          </p:cNvPr>
          <p:cNvSpPr txBox="1"/>
          <p:nvPr userDrawn="1"/>
        </p:nvSpPr>
        <p:spPr>
          <a:xfrm>
            <a:off x="604489" y="40965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82" name="Рисунок 81">
            <a:extLst>
              <a:ext uri="{FF2B5EF4-FFF2-40B4-BE49-F238E27FC236}">
                <a16:creationId xmlns:a16="http://schemas.microsoft.com/office/drawing/2014/main" id="{84B360DE-1FA3-FE4F-BEB6-BDEB8C052FF8}"/>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69271" y="4068000"/>
            <a:ext cx="288000" cy="288000"/>
          </a:xfrm>
          <a:prstGeom prst="rect">
            <a:avLst/>
          </a:prstGeom>
        </p:spPr>
      </p:pic>
      <p:sp>
        <p:nvSpPr>
          <p:cNvPr id="83" name="Прямоугольник 82">
            <a:extLst>
              <a:ext uri="{FF2B5EF4-FFF2-40B4-BE49-F238E27FC236}">
                <a16:creationId xmlns:a16="http://schemas.microsoft.com/office/drawing/2014/main" id="{D76E6F21-3381-5A4A-9A02-6598295AC25B}"/>
              </a:ext>
            </a:extLst>
          </p:cNvPr>
          <p:cNvSpPr/>
          <p:nvPr userDrawn="1"/>
        </p:nvSpPr>
        <p:spPr>
          <a:xfrm>
            <a:off x="0" y="97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 name="TextBox 83">
            <a:extLst>
              <a:ext uri="{FF2B5EF4-FFF2-40B4-BE49-F238E27FC236}">
                <a16:creationId xmlns:a16="http://schemas.microsoft.com/office/drawing/2014/main" id="{360E435E-DC06-424F-9B25-03E19F2829FD}"/>
              </a:ext>
            </a:extLst>
          </p:cNvPr>
          <p:cNvSpPr txBox="1"/>
          <p:nvPr userDrawn="1"/>
        </p:nvSpPr>
        <p:spPr>
          <a:xfrm>
            <a:off x="604489" y="10725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85" name="Рисунок 84">
            <a:extLst>
              <a:ext uri="{FF2B5EF4-FFF2-40B4-BE49-F238E27FC236}">
                <a16:creationId xmlns:a16="http://schemas.microsoft.com/office/drawing/2014/main" id="{72E8DA84-EB0C-6D4E-A5D9-5F91B14FFDA4}"/>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69271" y="1044000"/>
            <a:ext cx="288000" cy="288000"/>
          </a:xfrm>
          <a:prstGeom prst="rect">
            <a:avLst/>
          </a:prstGeom>
        </p:spPr>
      </p:pic>
      <p:sp>
        <p:nvSpPr>
          <p:cNvPr id="86" name="Прямоугольник 85">
            <a:extLst>
              <a:ext uri="{FF2B5EF4-FFF2-40B4-BE49-F238E27FC236}">
                <a16:creationId xmlns:a16="http://schemas.microsoft.com/office/drawing/2014/main" id="{1105A2AF-8021-1342-A513-2C12297B6C85}"/>
              </a:ext>
            </a:extLst>
          </p:cNvPr>
          <p:cNvSpPr/>
          <p:nvPr userDrawn="1"/>
        </p:nvSpPr>
        <p:spPr>
          <a:xfrm>
            <a:off x="0" y="486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 name="TextBox 86">
            <a:extLst>
              <a:ext uri="{FF2B5EF4-FFF2-40B4-BE49-F238E27FC236}">
                <a16:creationId xmlns:a16="http://schemas.microsoft.com/office/drawing/2014/main" id="{AE4AAA0E-410A-7648-9A48-D50E20C80673}"/>
              </a:ext>
            </a:extLst>
          </p:cNvPr>
          <p:cNvSpPr txBox="1"/>
          <p:nvPr userDrawn="1"/>
        </p:nvSpPr>
        <p:spPr>
          <a:xfrm>
            <a:off x="604489" y="49605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88" name="Рисунок 87">
            <a:extLst>
              <a:ext uri="{FF2B5EF4-FFF2-40B4-BE49-F238E27FC236}">
                <a16:creationId xmlns:a16="http://schemas.microsoft.com/office/drawing/2014/main" id="{E98BDE3E-31E1-444C-8A2F-855937B59810}"/>
              </a:ext>
            </a:extLst>
          </p:cNvPr>
          <p:cNvPicPr>
            <a:picLocks noChangeAspect="1"/>
          </p:cNvPicPr>
          <p:nvPr userDrawn="1"/>
        </p:nvPicPr>
        <p:blipFill>
          <a:blip r:embed="rId10" cstate="hqprint">
            <a:extLst>
              <a:ext uri="{28A0092B-C50C-407E-A947-70E740481C1C}">
                <a14:useLocalDpi xmlns:a14="http://schemas.microsoft.com/office/drawing/2010/main" val="0"/>
              </a:ext>
            </a:extLst>
          </a:blip>
          <a:stretch>
            <a:fillRect/>
          </a:stretch>
        </p:blipFill>
        <p:spPr>
          <a:xfrm>
            <a:off x="169271" y="4932000"/>
            <a:ext cx="288000" cy="288000"/>
          </a:xfrm>
          <a:prstGeom prst="rect">
            <a:avLst/>
          </a:prstGeom>
        </p:spPr>
      </p:pic>
      <p:sp>
        <p:nvSpPr>
          <p:cNvPr id="89" name="Прямоугольник 88">
            <a:extLst>
              <a:ext uri="{FF2B5EF4-FFF2-40B4-BE49-F238E27FC236}">
                <a16:creationId xmlns:a16="http://schemas.microsoft.com/office/drawing/2014/main" id="{41AC88E8-4267-E74E-879A-49276F0FE410}"/>
              </a:ext>
            </a:extLst>
          </p:cNvPr>
          <p:cNvSpPr/>
          <p:nvPr userDrawn="1"/>
        </p:nvSpPr>
        <p:spPr>
          <a:xfrm>
            <a:off x="0" y="140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3" name="TextBox 102">
            <a:extLst>
              <a:ext uri="{FF2B5EF4-FFF2-40B4-BE49-F238E27FC236}">
                <a16:creationId xmlns:a16="http://schemas.microsoft.com/office/drawing/2014/main" id="{988A4365-A412-FC4E-8219-20BDF9EFAF35}"/>
              </a:ext>
            </a:extLst>
          </p:cNvPr>
          <p:cNvSpPr txBox="1"/>
          <p:nvPr userDrawn="1"/>
        </p:nvSpPr>
        <p:spPr>
          <a:xfrm>
            <a:off x="604489" y="15045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104" name="Рисунок 103">
            <a:extLst>
              <a:ext uri="{FF2B5EF4-FFF2-40B4-BE49-F238E27FC236}">
                <a16:creationId xmlns:a16="http://schemas.microsoft.com/office/drawing/2014/main" id="{B5434D16-DD9A-0E4D-A71E-0CF0F7394F31}"/>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69270" y="1476000"/>
            <a:ext cx="288000" cy="288000"/>
          </a:xfrm>
          <a:prstGeom prst="rect">
            <a:avLst/>
          </a:prstGeom>
        </p:spPr>
      </p:pic>
      <p:sp>
        <p:nvSpPr>
          <p:cNvPr id="105" name="Прямоугольник 104">
            <a:extLst>
              <a:ext uri="{FF2B5EF4-FFF2-40B4-BE49-F238E27FC236}">
                <a16:creationId xmlns:a16="http://schemas.microsoft.com/office/drawing/2014/main" id="{B33C1554-F6DA-2640-BC95-C93B8E6FC73B}"/>
              </a:ext>
            </a:extLst>
          </p:cNvPr>
          <p:cNvSpPr/>
          <p:nvPr userDrawn="1"/>
        </p:nvSpPr>
        <p:spPr>
          <a:xfrm>
            <a:off x="0" y="529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8" name="TextBox 107">
            <a:extLst>
              <a:ext uri="{FF2B5EF4-FFF2-40B4-BE49-F238E27FC236}">
                <a16:creationId xmlns:a16="http://schemas.microsoft.com/office/drawing/2014/main" id="{4336B050-6CEE-5644-8EEB-ECAA229171DD}"/>
              </a:ext>
            </a:extLst>
          </p:cNvPr>
          <p:cNvSpPr txBox="1"/>
          <p:nvPr userDrawn="1"/>
        </p:nvSpPr>
        <p:spPr>
          <a:xfrm>
            <a:off x="604489" y="53925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109" name="Рисунок 108">
            <a:extLst>
              <a:ext uri="{FF2B5EF4-FFF2-40B4-BE49-F238E27FC236}">
                <a16:creationId xmlns:a16="http://schemas.microsoft.com/office/drawing/2014/main" id="{B96BF871-A2DF-CE41-A42E-6BEC4483A4CB}"/>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69270" y="5364000"/>
            <a:ext cx="288000" cy="288000"/>
          </a:xfrm>
          <a:prstGeom prst="rect">
            <a:avLst/>
          </a:prstGeom>
        </p:spPr>
      </p:pic>
      <p:sp>
        <p:nvSpPr>
          <p:cNvPr id="110" name="Прямоугольник 109">
            <a:extLst>
              <a:ext uri="{FF2B5EF4-FFF2-40B4-BE49-F238E27FC236}">
                <a16:creationId xmlns:a16="http://schemas.microsoft.com/office/drawing/2014/main" id="{3806C03E-9B04-5F41-BDCC-993EC18DF832}"/>
              </a:ext>
            </a:extLst>
          </p:cNvPr>
          <p:cNvSpPr/>
          <p:nvPr userDrawn="1"/>
        </p:nvSpPr>
        <p:spPr>
          <a:xfrm>
            <a:off x="0" y="54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1" name="TextBox 110">
            <a:extLst>
              <a:ext uri="{FF2B5EF4-FFF2-40B4-BE49-F238E27FC236}">
                <a16:creationId xmlns:a16="http://schemas.microsoft.com/office/drawing/2014/main" id="{DFFE2BCB-A6B6-6247-8A04-6AE4A1B87345}"/>
              </a:ext>
            </a:extLst>
          </p:cNvPr>
          <p:cNvSpPr txBox="1"/>
          <p:nvPr userDrawn="1"/>
        </p:nvSpPr>
        <p:spPr>
          <a:xfrm>
            <a:off x="604489" y="6405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112" name="Рисунок 111">
            <a:extLst>
              <a:ext uri="{FF2B5EF4-FFF2-40B4-BE49-F238E27FC236}">
                <a16:creationId xmlns:a16="http://schemas.microsoft.com/office/drawing/2014/main" id="{4F12502A-2D47-464D-BF73-F9DA9746347B}"/>
              </a:ext>
            </a:extLst>
          </p:cNvPr>
          <p:cNvPicPr>
            <a:picLocks noChangeAspect="1"/>
          </p:cNvPicPr>
          <p:nvPr userDrawn="1"/>
        </p:nvPicPr>
        <p:blipFill>
          <a:blip r:embed="rId13" cstate="hqprint">
            <a:extLst>
              <a:ext uri="{28A0092B-C50C-407E-A947-70E740481C1C}">
                <a14:useLocalDpi xmlns:a14="http://schemas.microsoft.com/office/drawing/2010/main" val="0"/>
              </a:ext>
            </a:extLst>
          </a:blip>
          <a:stretch>
            <a:fillRect/>
          </a:stretch>
        </p:blipFill>
        <p:spPr>
          <a:xfrm>
            <a:off x="169271" y="612000"/>
            <a:ext cx="288000" cy="288000"/>
          </a:xfrm>
          <a:prstGeom prst="rect">
            <a:avLst/>
          </a:prstGeom>
        </p:spPr>
      </p:pic>
      <p:sp>
        <p:nvSpPr>
          <p:cNvPr id="116" name="Прямоугольник 115">
            <a:extLst>
              <a:ext uri="{FF2B5EF4-FFF2-40B4-BE49-F238E27FC236}">
                <a16:creationId xmlns:a16="http://schemas.microsoft.com/office/drawing/2014/main" id="{D356A863-8ED0-104C-A979-011ADC9CA5F7}"/>
              </a:ext>
            </a:extLst>
          </p:cNvPr>
          <p:cNvSpPr/>
          <p:nvPr userDrawn="1"/>
        </p:nvSpPr>
        <p:spPr>
          <a:xfrm>
            <a:off x="0" y="615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7" name="TextBox 116">
            <a:extLst>
              <a:ext uri="{FF2B5EF4-FFF2-40B4-BE49-F238E27FC236}">
                <a16:creationId xmlns:a16="http://schemas.microsoft.com/office/drawing/2014/main" id="{E84BD71D-6511-D649-B681-40BF6DC15B69}"/>
              </a:ext>
            </a:extLst>
          </p:cNvPr>
          <p:cNvSpPr txBox="1"/>
          <p:nvPr userDrawn="1"/>
        </p:nvSpPr>
        <p:spPr>
          <a:xfrm>
            <a:off x="604489" y="62565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118" name="Рисунок 117">
            <a:extLst>
              <a:ext uri="{FF2B5EF4-FFF2-40B4-BE49-F238E27FC236}">
                <a16:creationId xmlns:a16="http://schemas.microsoft.com/office/drawing/2014/main" id="{B801D65F-1EDC-3F4F-83D0-786DC17DA30F}"/>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6228000"/>
            <a:ext cx="288000" cy="288000"/>
          </a:xfrm>
          <a:prstGeom prst="rect">
            <a:avLst/>
          </a:prstGeom>
        </p:spPr>
      </p:pic>
      <p:sp>
        <p:nvSpPr>
          <p:cNvPr id="189" name="Прямоугольник 188">
            <a:extLst>
              <a:ext uri="{FF2B5EF4-FFF2-40B4-BE49-F238E27FC236}">
                <a16:creationId xmlns:a16="http://schemas.microsoft.com/office/drawing/2014/main" id="{8AE3B7E6-3007-2941-81A3-21BDEB2EC6B9}"/>
              </a:ext>
            </a:extLst>
          </p:cNvPr>
          <p:cNvSpPr/>
          <p:nvPr userDrawn="1"/>
        </p:nvSpPr>
        <p:spPr>
          <a:xfrm>
            <a:off x="0" y="57240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90" name="TextBox 189">
            <a:extLst>
              <a:ext uri="{FF2B5EF4-FFF2-40B4-BE49-F238E27FC236}">
                <a16:creationId xmlns:a16="http://schemas.microsoft.com/office/drawing/2014/main" id="{70010455-FBAE-194A-B4A7-9E0159C29FC4}"/>
              </a:ext>
            </a:extLst>
          </p:cNvPr>
          <p:cNvSpPr txBox="1"/>
          <p:nvPr userDrawn="1"/>
        </p:nvSpPr>
        <p:spPr>
          <a:xfrm>
            <a:off x="604489" y="5824584"/>
            <a:ext cx="1439290" cy="230832"/>
          </a:xfrm>
          <a:prstGeom prst="rect">
            <a:avLst/>
          </a:prstGeom>
          <a:noFill/>
        </p:spPr>
        <p:txBody>
          <a:bodyPr wrap="square" rtlCol="0" anchor="ctr">
            <a:spAutoFit/>
          </a:bodyPr>
          <a:lstStyle/>
          <a:p>
            <a:r>
              <a:rPr lang="en-US" sz="900" b="1" dirty="0">
                <a:solidFill>
                  <a:schemeClr val="bg1"/>
                </a:solidFill>
              </a:rPr>
              <a:t>Housekeeping dashboard</a:t>
            </a:r>
            <a:endParaRPr lang="ru-RU" sz="900" b="1" dirty="0">
              <a:solidFill>
                <a:schemeClr val="bg1"/>
              </a:solidFill>
            </a:endParaRPr>
          </a:p>
        </p:txBody>
      </p:sp>
      <p:pic>
        <p:nvPicPr>
          <p:cNvPr id="191" name="Рисунок 190">
            <a:extLst>
              <a:ext uri="{FF2B5EF4-FFF2-40B4-BE49-F238E27FC236}">
                <a16:creationId xmlns:a16="http://schemas.microsoft.com/office/drawing/2014/main" id="{56B9C68B-7BB9-884D-BEDC-D92335D82818}"/>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171523" y="5796000"/>
            <a:ext cx="288000" cy="288000"/>
          </a:xfrm>
          <a:prstGeom prst="rect">
            <a:avLst/>
          </a:prstGeom>
        </p:spPr>
      </p:pic>
      <p:sp>
        <p:nvSpPr>
          <p:cNvPr id="53" name="Прямоугольник 52">
            <a:extLst>
              <a:ext uri="{FF2B5EF4-FFF2-40B4-BE49-F238E27FC236}">
                <a16:creationId xmlns:a16="http://schemas.microsoft.com/office/drawing/2014/main" id="{25D879A6-CBDA-ED4B-86CF-803AFB23ED49}"/>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4" name="Рисунок 53">
            <a:extLst>
              <a:ext uri="{FF2B5EF4-FFF2-40B4-BE49-F238E27FC236}">
                <a16:creationId xmlns:a16="http://schemas.microsoft.com/office/drawing/2014/main" id="{F0A6CCB5-6DB2-C741-905E-C8246E9FB6BF}"/>
              </a:ext>
            </a:extLst>
          </p:cNvPr>
          <p:cNvPicPr>
            <a:picLocks noChangeAspect="1"/>
          </p:cNvPicPr>
          <p:nvPr userDrawn="1"/>
        </p:nvPicPr>
        <p:blipFill rotWithShape="1">
          <a:blip r:embed="rId16"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pic>
        <p:nvPicPr>
          <p:cNvPr id="2" name="Рисунок 1"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3" name="Рисунок 2"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4" name="Рисунок 3"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5" name="Рисунок 4"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6" name="Рисунок 5"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7" name="Рисунок 6"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spTree>
    <p:extLst>
      <p:ext uri="{BB962C8B-B14F-4D97-AF65-F5344CB8AC3E}">
        <p14:creationId xmlns:p14="http://schemas.microsoft.com/office/powerpoint/2010/main" val="290188076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15_Дополнительно">
    <p:spTree>
      <p:nvGrpSpPr>
        <p:cNvPr id="1" name=""/>
        <p:cNvGrpSpPr/>
        <p:nvPr/>
      </p:nvGrpSpPr>
      <p:grpSpPr>
        <a:xfrm>
          <a:off x="0" y="0"/>
          <a:ext cx="0" cy="0"/>
          <a:chOff x="0" y="0"/>
          <a:chExt cx="0" cy="0"/>
        </a:xfrm>
      </p:grpSpPr>
      <p:sp>
        <p:nvSpPr>
          <p:cNvPr id="37" name="Прямоугольник 36">
            <a:extLst>
              <a:ext uri="{FF2B5EF4-FFF2-40B4-BE49-F238E27FC236}">
                <a16:creationId xmlns:a16="http://schemas.microsoft.com/office/drawing/2014/main" id="{D8782B54-09F5-FF48-9B91-5AF0B81A52BB}"/>
              </a:ext>
            </a:extLst>
          </p:cNvPr>
          <p:cNvSpPr/>
          <p:nvPr userDrawn="1"/>
        </p:nvSpPr>
        <p:spPr>
          <a:xfrm>
            <a:off x="2135560" y="1"/>
            <a:ext cx="1006719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Title 1">
            <a:extLst>
              <a:ext uri="{FF2B5EF4-FFF2-40B4-BE49-F238E27FC236}">
                <a16:creationId xmlns:a16="http://schemas.microsoft.com/office/drawing/2014/main" id="{BB5AA8F6-C08B-CB4A-8762-DBC65E1FBF92}"/>
              </a:ext>
            </a:extLst>
          </p:cNvPr>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0" name="TextBox 89">
            <a:extLst>
              <a:ext uri="{FF2B5EF4-FFF2-40B4-BE49-F238E27FC236}">
                <a16:creationId xmlns:a16="http://schemas.microsoft.com/office/drawing/2014/main" id="{47EE5BF7-FE67-064C-BD00-33AACC8A266C}"/>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grpSp>
        <p:nvGrpSpPr>
          <p:cNvPr id="57" name="Группа 56">
            <a:extLst>
              <a:ext uri="{FF2B5EF4-FFF2-40B4-BE49-F238E27FC236}">
                <a16:creationId xmlns:a16="http://schemas.microsoft.com/office/drawing/2014/main" id="{B4E24D38-DAE0-A845-A2CC-FF4925853E28}"/>
              </a:ext>
            </a:extLst>
          </p:cNvPr>
          <p:cNvGrpSpPr/>
          <p:nvPr userDrawn="1"/>
        </p:nvGrpSpPr>
        <p:grpSpPr>
          <a:xfrm>
            <a:off x="0" y="-7200"/>
            <a:ext cx="2148770" cy="553998"/>
            <a:chOff x="0" y="11193"/>
            <a:chExt cx="2148770" cy="553998"/>
          </a:xfrm>
        </p:grpSpPr>
        <p:sp>
          <p:nvSpPr>
            <p:cNvPr id="58" name="Прямоугольник 57">
              <a:extLst>
                <a:ext uri="{FF2B5EF4-FFF2-40B4-BE49-F238E27FC236}">
                  <a16:creationId xmlns:a16="http://schemas.microsoft.com/office/drawing/2014/main" id="{D09FC5A9-0200-B340-B4FF-5E3472DDD361}"/>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 name="TextBox 58">
              <a:extLst>
                <a:ext uri="{FF2B5EF4-FFF2-40B4-BE49-F238E27FC236}">
                  <a16:creationId xmlns:a16="http://schemas.microsoft.com/office/drawing/2014/main" id="{2FBF37FB-131F-7F48-A501-AC2B06644F19}"/>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60" name="TextBox 59">
              <a:extLst>
                <a:ext uri="{FF2B5EF4-FFF2-40B4-BE49-F238E27FC236}">
                  <a16:creationId xmlns:a16="http://schemas.microsoft.com/office/drawing/2014/main" id="{D74756C2-0474-F745-86EE-35A0D1F8FBE8}"/>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62" name="Прямоугольник 61">
            <a:extLst>
              <a:ext uri="{FF2B5EF4-FFF2-40B4-BE49-F238E27FC236}">
                <a16:creationId xmlns:a16="http://schemas.microsoft.com/office/drawing/2014/main" id="{D557E184-5A8E-074E-A890-C6F394D26181}"/>
              </a:ext>
            </a:extLst>
          </p:cNvPr>
          <p:cNvSpPr/>
          <p:nvPr userDrawn="1"/>
        </p:nvSpPr>
        <p:spPr>
          <a:xfrm>
            <a:off x="0" y="313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3" name="TextBox 62">
            <a:extLst>
              <a:ext uri="{FF2B5EF4-FFF2-40B4-BE49-F238E27FC236}">
                <a16:creationId xmlns:a16="http://schemas.microsoft.com/office/drawing/2014/main" id="{B136CCC9-B874-964A-9353-16FC33392E7E}"/>
              </a:ext>
            </a:extLst>
          </p:cNvPr>
          <p:cNvSpPr txBox="1"/>
          <p:nvPr userDrawn="1"/>
        </p:nvSpPr>
        <p:spPr>
          <a:xfrm>
            <a:off x="604489" y="32325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64" name="Рисунок 63">
            <a:extLst>
              <a:ext uri="{FF2B5EF4-FFF2-40B4-BE49-F238E27FC236}">
                <a16:creationId xmlns:a16="http://schemas.microsoft.com/office/drawing/2014/main" id="{723B0DE7-EA2E-7647-BFF2-F0F88DDEE41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3204000"/>
            <a:ext cx="288000" cy="288000"/>
          </a:xfrm>
          <a:prstGeom prst="rect">
            <a:avLst/>
          </a:prstGeom>
        </p:spPr>
      </p:pic>
      <p:sp>
        <p:nvSpPr>
          <p:cNvPr id="65" name="Прямоугольник 64">
            <a:extLst>
              <a:ext uri="{FF2B5EF4-FFF2-40B4-BE49-F238E27FC236}">
                <a16:creationId xmlns:a16="http://schemas.microsoft.com/office/drawing/2014/main" id="{AF03B150-8FEF-4146-9948-924FF8312163}"/>
              </a:ext>
            </a:extLst>
          </p:cNvPr>
          <p:cNvSpPr/>
          <p:nvPr userDrawn="1"/>
        </p:nvSpPr>
        <p:spPr>
          <a:xfrm>
            <a:off x="0" y="270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 name="TextBox 65">
            <a:extLst>
              <a:ext uri="{FF2B5EF4-FFF2-40B4-BE49-F238E27FC236}">
                <a16:creationId xmlns:a16="http://schemas.microsoft.com/office/drawing/2014/main" id="{0F1BC41A-4AC5-D544-9430-F8CCFEB0144B}"/>
              </a:ext>
            </a:extLst>
          </p:cNvPr>
          <p:cNvSpPr txBox="1"/>
          <p:nvPr userDrawn="1"/>
        </p:nvSpPr>
        <p:spPr>
          <a:xfrm>
            <a:off x="604489" y="28005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67" name="Рисунок 66">
            <a:extLst>
              <a:ext uri="{FF2B5EF4-FFF2-40B4-BE49-F238E27FC236}">
                <a16:creationId xmlns:a16="http://schemas.microsoft.com/office/drawing/2014/main" id="{095B8517-A845-E948-A6BD-A1AB41C76D3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9271" y="2772000"/>
            <a:ext cx="288000" cy="288000"/>
          </a:xfrm>
          <a:prstGeom prst="rect">
            <a:avLst/>
          </a:prstGeom>
        </p:spPr>
      </p:pic>
      <p:sp>
        <p:nvSpPr>
          <p:cNvPr id="68" name="Прямоугольник 67">
            <a:extLst>
              <a:ext uri="{FF2B5EF4-FFF2-40B4-BE49-F238E27FC236}">
                <a16:creationId xmlns:a16="http://schemas.microsoft.com/office/drawing/2014/main" id="{11CD41B4-58C4-7349-BA2D-618DF6701CB6}"/>
              </a:ext>
            </a:extLst>
          </p:cNvPr>
          <p:cNvSpPr/>
          <p:nvPr userDrawn="1"/>
        </p:nvSpPr>
        <p:spPr>
          <a:xfrm>
            <a:off x="0" y="226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 name="TextBox 68">
            <a:extLst>
              <a:ext uri="{FF2B5EF4-FFF2-40B4-BE49-F238E27FC236}">
                <a16:creationId xmlns:a16="http://schemas.microsoft.com/office/drawing/2014/main" id="{F6BD64F6-CE5D-9F46-9D0F-691CC9848852}"/>
              </a:ext>
            </a:extLst>
          </p:cNvPr>
          <p:cNvSpPr txBox="1"/>
          <p:nvPr userDrawn="1"/>
        </p:nvSpPr>
        <p:spPr>
          <a:xfrm>
            <a:off x="604489" y="22993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70" name="Рисунок 69">
            <a:extLst>
              <a:ext uri="{FF2B5EF4-FFF2-40B4-BE49-F238E27FC236}">
                <a16:creationId xmlns:a16="http://schemas.microsoft.com/office/drawing/2014/main" id="{73BAFEF7-2D2A-064A-B22A-84845B1BC5B3}"/>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69271" y="2340000"/>
            <a:ext cx="288000" cy="288000"/>
          </a:xfrm>
          <a:prstGeom prst="rect">
            <a:avLst/>
          </a:prstGeom>
        </p:spPr>
      </p:pic>
      <p:sp>
        <p:nvSpPr>
          <p:cNvPr id="71" name="Прямоугольник 70">
            <a:extLst>
              <a:ext uri="{FF2B5EF4-FFF2-40B4-BE49-F238E27FC236}">
                <a16:creationId xmlns:a16="http://schemas.microsoft.com/office/drawing/2014/main" id="{2DAFC37C-AF10-1546-B7DF-798FD68E4CDE}"/>
              </a:ext>
            </a:extLst>
          </p:cNvPr>
          <p:cNvSpPr/>
          <p:nvPr userDrawn="1"/>
        </p:nvSpPr>
        <p:spPr>
          <a:xfrm>
            <a:off x="0" y="183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 name="TextBox 71">
            <a:extLst>
              <a:ext uri="{FF2B5EF4-FFF2-40B4-BE49-F238E27FC236}">
                <a16:creationId xmlns:a16="http://schemas.microsoft.com/office/drawing/2014/main" id="{A4F2405B-DFB1-DA4D-99DA-87D6F23A4251}"/>
              </a:ext>
            </a:extLst>
          </p:cNvPr>
          <p:cNvSpPr txBox="1"/>
          <p:nvPr userDrawn="1"/>
        </p:nvSpPr>
        <p:spPr>
          <a:xfrm>
            <a:off x="604489" y="18673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73" name="Рисунок 72">
            <a:extLst>
              <a:ext uri="{FF2B5EF4-FFF2-40B4-BE49-F238E27FC236}">
                <a16:creationId xmlns:a16="http://schemas.microsoft.com/office/drawing/2014/main" id="{43A06FF3-64A6-464C-A7B3-879FC42C0BB8}"/>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169271" y="1908000"/>
            <a:ext cx="288000" cy="288000"/>
          </a:xfrm>
          <a:prstGeom prst="rect">
            <a:avLst/>
          </a:prstGeom>
        </p:spPr>
      </p:pic>
      <p:sp>
        <p:nvSpPr>
          <p:cNvPr id="74" name="Прямоугольник 73">
            <a:extLst>
              <a:ext uri="{FF2B5EF4-FFF2-40B4-BE49-F238E27FC236}">
                <a16:creationId xmlns:a16="http://schemas.microsoft.com/office/drawing/2014/main" id="{1965265F-8368-CE4E-AA9C-1CBADD449870}"/>
              </a:ext>
            </a:extLst>
          </p:cNvPr>
          <p:cNvSpPr/>
          <p:nvPr userDrawn="1"/>
        </p:nvSpPr>
        <p:spPr>
          <a:xfrm>
            <a:off x="0" y="442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 name="TextBox 74">
            <a:extLst>
              <a:ext uri="{FF2B5EF4-FFF2-40B4-BE49-F238E27FC236}">
                <a16:creationId xmlns:a16="http://schemas.microsoft.com/office/drawing/2014/main" id="{3861ED43-2259-4A41-8446-781F203172B9}"/>
              </a:ext>
            </a:extLst>
          </p:cNvPr>
          <p:cNvSpPr txBox="1"/>
          <p:nvPr userDrawn="1"/>
        </p:nvSpPr>
        <p:spPr>
          <a:xfrm>
            <a:off x="604489" y="45285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76" name="Рисунок 75">
            <a:extLst>
              <a:ext uri="{FF2B5EF4-FFF2-40B4-BE49-F238E27FC236}">
                <a16:creationId xmlns:a16="http://schemas.microsoft.com/office/drawing/2014/main" id="{74A212F8-6C9B-9348-9AA2-FA83D33980AB}"/>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69271" y="4500000"/>
            <a:ext cx="288000" cy="288000"/>
          </a:xfrm>
          <a:prstGeom prst="rect">
            <a:avLst/>
          </a:prstGeom>
        </p:spPr>
      </p:pic>
      <p:sp>
        <p:nvSpPr>
          <p:cNvPr id="77" name="Прямоугольник 76">
            <a:extLst>
              <a:ext uri="{FF2B5EF4-FFF2-40B4-BE49-F238E27FC236}">
                <a16:creationId xmlns:a16="http://schemas.microsoft.com/office/drawing/2014/main" id="{0C22D92A-0F7A-5840-A64B-9BBF7B142252}"/>
              </a:ext>
            </a:extLst>
          </p:cNvPr>
          <p:cNvSpPr/>
          <p:nvPr userDrawn="1"/>
        </p:nvSpPr>
        <p:spPr>
          <a:xfrm>
            <a:off x="0" y="356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 name="TextBox 77">
            <a:extLst>
              <a:ext uri="{FF2B5EF4-FFF2-40B4-BE49-F238E27FC236}">
                <a16:creationId xmlns:a16="http://schemas.microsoft.com/office/drawing/2014/main" id="{94DA328A-2023-0D4B-A9C7-37DEEB53C7D8}"/>
              </a:ext>
            </a:extLst>
          </p:cNvPr>
          <p:cNvSpPr txBox="1"/>
          <p:nvPr userDrawn="1"/>
        </p:nvSpPr>
        <p:spPr>
          <a:xfrm>
            <a:off x="604489" y="36645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79" name="Рисунок 78">
            <a:extLst>
              <a:ext uri="{FF2B5EF4-FFF2-40B4-BE49-F238E27FC236}">
                <a16:creationId xmlns:a16="http://schemas.microsoft.com/office/drawing/2014/main" id="{FB1DF208-643C-9747-BF21-F947E9889391}"/>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69271" y="3636000"/>
            <a:ext cx="288000" cy="288000"/>
          </a:xfrm>
          <a:prstGeom prst="rect">
            <a:avLst/>
          </a:prstGeom>
        </p:spPr>
      </p:pic>
      <p:sp>
        <p:nvSpPr>
          <p:cNvPr id="80" name="Прямоугольник 79">
            <a:extLst>
              <a:ext uri="{FF2B5EF4-FFF2-40B4-BE49-F238E27FC236}">
                <a16:creationId xmlns:a16="http://schemas.microsoft.com/office/drawing/2014/main" id="{3BEA8ED4-7390-9046-AA7E-6EFFD312E539}"/>
              </a:ext>
            </a:extLst>
          </p:cNvPr>
          <p:cNvSpPr/>
          <p:nvPr userDrawn="1"/>
        </p:nvSpPr>
        <p:spPr>
          <a:xfrm>
            <a:off x="0" y="399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 name="TextBox 80">
            <a:extLst>
              <a:ext uri="{FF2B5EF4-FFF2-40B4-BE49-F238E27FC236}">
                <a16:creationId xmlns:a16="http://schemas.microsoft.com/office/drawing/2014/main" id="{8A0D4B8C-45C3-3048-BCC5-2DBC75721F47}"/>
              </a:ext>
            </a:extLst>
          </p:cNvPr>
          <p:cNvSpPr txBox="1"/>
          <p:nvPr userDrawn="1"/>
        </p:nvSpPr>
        <p:spPr>
          <a:xfrm>
            <a:off x="604489" y="40965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82" name="Рисунок 81">
            <a:extLst>
              <a:ext uri="{FF2B5EF4-FFF2-40B4-BE49-F238E27FC236}">
                <a16:creationId xmlns:a16="http://schemas.microsoft.com/office/drawing/2014/main" id="{2676D885-46BC-4B44-B3A3-BBFF99281236}"/>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69271" y="4068000"/>
            <a:ext cx="288000" cy="288000"/>
          </a:xfrm>
          <a:prstGeom prst="rect">
            <a:avLst/>
          </a:prstGeom>
        </p:spPr>
      </p:pic>
      <p:sp>
        <p:nvSpPr>
          <p:cNvPr id="83" name="Прямоугольник 82">
            <a:extLst>
              <a:ext uri="{FF2B5EF4-FFF2-40B4-BE49-F238E27FC236}">
                <a16:creationId xmlns:a16="http://schemas.microsoft.com/office/drawing/2014/main" id="{51B97417-22BE-B643-AF16-00D97D7BADAA}"/>
              </a:ext>
            </a:extLst>
          </p:cNvPr>
          <p:cNvSpPr/>
          <p:nvPr userDrawn="1"/>
        </p:nvSpPr>
        <p:spPr>
          <a:xfrm>
            <a:off x="0" y="97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 name="TextBox 83">
            <a:extLst>
              <a:ext uri="{FF2B5EF4-FFF2-40B4-BE49-F238E27FC236}">
                <a16:creationId xmlns:a16="http://schemas.microsoft.com/office/drawing/2014/main" id="{6F2D877A-6916-8845-AB04-AD1A2047FBF0}"/>
              </a:ext>
            </a:extLst>
          </p:cNvPr>
          <p:cNvSpPr txBox="1"/>
          <p:nvPr userDrawn="1"/>
        </p:nvSpPr>
        <p:spPr>
          <a:xfrm>
            <a:off x="604489" y="10725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85" name="Рисунок 84">
            <a:extLst>
              <a:ext uri="{FF2B5EF4-FFF2-40B4-BE49-F238E27FC236}">
                <a16:creationId xmlns:a16="http://schemas.microsoft.com/office/drawing/2014/main" id="{72C0460A-0A47-F84E-83AB-675E887F6775}"/>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69271" y="1044000"/>
            <a:ext cx="288000" cy="288000"/>
          </a:xfrm>
          <a:prstGeom prst="rect">
            <a:avLst/>
          </a:prstGeom>
        </p:spPr>
      </p:pic>
      <p:sp>
        <p:nvSpPr>
          <p:cNvPr id="86" name="Прямоугольник 85">
            <a:extLst>
              <a:ext uri="{FF2B5EF4-FFF2-40B4-BE49-F238E27FC236}">
                <a16:creationId xmlns:a16="http://schemas.microsoft.com/office/drawing/2014/main" id="{961A2AB0-4F3F-9749-8AB5-D4BD15FA30C1}"/>
              </a:ext>
            </a:extLst>
          </p:cNvPr>
          <p:cNvSpPr/>
          <p:nvPr userDrawn="1"/>
        </p:nvSpPr>
        <p:spPr>
          <a:xfrm>
            <a:off x="0" y="486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 name="TextBox 86">
            <a:extLst>
              <a:ext uri="{FF2B5EF4-FFF2-40B4-BE49-F238E27FC236}">
                <a16:creationId xmlns:a16="http://schemas.microsoft.com/office/drawing/2014/main" id="{355732E1-C24D-1F45-B0E1-F9A53BD8567B}"/>
              </a:ext>
            </a:extLst>
          </p:cNvPr>
          <p:cNvSpPr txBox="1"/>
          <p:nvPr userDrawn="1"/>
        </p:nvSpPr>
        <p:spPr>
          <a:xfrm>
            <a:off x="604489" y="49605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88" name="Рисунок 87">
            <a:extLst>
              <a:ext uri="{FF2B5EF4-FFF2-40B4-BE49-F238E27FC236}">
                <a16:creationId xmlns:a16="http://schemas.microsoft.com/office/drawing/2014/main" id="{BC9FE514-F8C2-7849-A6A4-8F925DF33B09}"/>
              </a:ext>
            </a:extLst>
          </p:cNvPr>
          <p:cNvPicPr>
            <a:picLocks noChangeAspect="1"/>
          </p:cNvPicPr>
          <p:nvPr userDrawn="1"/>
        </p:nvPicPr>
        <p:blipFill>
          <a:blip r:embed="rId10" cstate="hqprint">
            <a:extLst>
              <a:ext uri="{28A0092B-C50C-407E-A947-70E740481C1C}">
                <a14:useLocalDpi xmlns:a14="http://schemas.microsoft.com/office/drawing/2010/main" val="0"/>
              </a:ext>
            </a:extLst>
          </a:blip>
          <a:stretch>
            <a:fillRect/>
          </a:stretch>
        </p:blipFill>
        <p:spPr>
          <a:xfrm>
            <a:off x="169271" y="4932000"/>
            <a:ext cx="288000" cy="288000"/>
          </a:xfrm>
          <a:prstGeom prst="rect">
            <a:avLst/>
          </a:prstGeom>
        </p:spPr>
      </p:pic>
      <p:sp>
        <p:nvSpPr>
          <p:cNvPr id="89" name="Прямоугольник 88">
            <a:extLst>
              <a:ext uri="{FF2B5EF4-FFF2-40B4-BE49-F238E27FC236}">
                <a16:creationId xmlns:a16="http://schemas.microsoft.com/office/drawing/2014/main" id="{470711CE-745D-E540-93A5-CAA08FC072AC}"/>
              </a:ext>
            </a:extLst>
          </p:cNvPr>
          <p:cNvSpPr/>
          <p:nvPr userDrawn="1"/>
        </p:nvSpPr>
        <p:spPr>
          <a:xfrm>
            <a:off x="0" y="140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7" name="TextBox 96">
            <a:extLst>
              <a:ext uri="{FF2B5EF4-FFF2-40B4-BE49-F238E27FC236}">
                <a16:creationId xmlns:a16="http://schemas.microsoft.com/office/drawing/2014/main" id="{7DB94F94-F1F4-EF40-A063-120B87083725}"/>
              </a:ext>
            </a:extLst>
          </p:cNvPr>
          <p:cNvSpPr txBox="1"/>
          <p:nvPr userDrawn="1"/>
        </p:nvSpPr>
        <p:spPr>
          <a:xfrm>
            <a:off x="604489" y="15045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98" name="Рисунок 97">
            <a:extLst>
              <a:ext uri="{FF2B5EF4-FFF2-40B4-BE49-F238E27FC236}">
                <a16:creationId xmlns:a16="http://schemas.microsoft.com/office/drawing/2014/main" id="{EA639D4A-E876-A344-91CF-9C0FCC13939E}"/>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69270" y="1476000"/>
            <a:ext cx="288000" cy="288000"/>
          </a:xfrm>
          <a:prstGeom prst="rect">
            <a:avLst/>
          </a:prstGeom>
        </p:spPr>
      </p:pic>
      <p:sp>
        <p:nvSpPr>
          <p:cNvPr id="99" name="Прямоугольник 98">
            <a:extLst>
              <a:ext uri="{FF2B5EF4-FFF2-40B4-BE49-F238E27FC236}">
                <a16:creationId xmlns:a16="http://schemas.microsoft.com/office/drawing/2014/main" id="{ED1372D9-E19A-8544-85B7-028DAB7C8067}"/>
              </a:ext>
            </a:extLst>
          </p:cNvPr>
          <p:cNvSpPr/>
          <p:nvPr userDrawn="1"/>
        </p:nvSpPr>
        <p:spPr>
          <a:xfrm>
            <a:off x="0" y="529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3" name="TextBox 102">
            <a:extLst>
              <a:ext uri="{FF2B5EF4-FFF2-40B4-BE49-F238E27FC236}">
                <a16:creationId xmlns:a16="http://schemas.microsoft.com/office/drawing/2014/main" id="{92A15AAB-9DFA-7149-B982-CCAC4152CDE7}"/>
              </a:ext>
            </a:extLst>
          </p:cNvPr>
          <p:cNvSpPr txBox="1"/>
          <p:nvPr userDrawn="1"/>
        </p:nvSpPr>
        <p:spPr>
          <a:xfrm>
            <a:off x="604489" y="53925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104" name="Рисунок 103">
            <a:extLst>
              <a:ext uri="{FF2B5EF4-FFF2-40B4-BE49-F238E27FC236}">
                <a16:creationId xmlns:a16="http://schemas.microsoft.com/office/drawing/2014/main" id="{8EDC4888-B047-1845-B6D1-DBA16E92882E}"/>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69270" y="5364000"/>
            <a:ext cx="288000" cy="288000"/>
          </a:xfrm>
          <a:prstGeom prst="rect">
            <a:avLst/>
          </a:prstGeom>
        </p:spPr>
      </p:pic>
      <p:sp>
        <p:nvSpPr>
          <p:cNvPr id="105" name="Прямоугольник 104">
            <a:extLst>
              <a:ext uri="{FF2B5EF4-FFF2-40B4-BE49-F238E27FC236}">
                <a16:creationId xmlns:a16="http://schemas.microsoft.com/office/drawing/2014/main" id="{938976E7-9CA7-524B-A9C5-18EBA5BC2F94}"/>
              </a:ext>
            </a:extLst>
          </p:cNvPr>
          <p:cNvSpPr/>
          <p:nvPr userDrawn="1"/>
        </p:nvSpPr>
        <p:spPr>
          <a:xfrm>
            <a:off x="0" y="54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8" name="TextBox 107">
            <a:extLst>
              <a:ext uri="{FF2B5EF4-FFF2-40B4-BE49-F238E27FC236}">
                <a16:creationId xmlns:a16="http://schemas.microsoft.com/office/drawing/2014/main" id="{F46D6FD2-8B82-EA44-8518-4593379245C9}"/>
              </a:ext>
            </a:extLst>
          </p:cNvPr>
          <p:cNvSpPr txBox="1"/>
          <p:nvPr userDrawn="1"/>
        </p:nvSpPr>
        <p:spPr>
          <a:xfrm>
            <a:off x="604489" y="6405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109" name="Рисунок 108">
            <a:extLst>
              <a:ext uri="{FF2B5EF4-FFF2-40B4-BE49-F238E27FC236}">
                <a16:creationId xmlns:a16="http://schemas.microsoft.com/office/drawing/2014/main" id="{FC14728E-78BB-3647-BF71-98573E246A00}"/>
              </a:ext>
            </a:extLst>
          </p:cNvPr>
          <p:cNvPicPr>
            <a:picLocks noChangeAspect="1"/>
          </p:cNvPicPr>
          <p:nvPr userDrawn="1"/>
        </p:nvPicPr>
        <p:blipFill>
          <a:blip r:embed="rId13" cstate="hqprint">
            <a:extLst>
              <a:ext uri="{28A0092B-C50C-407E-A947-70E740481C1C}">
                <a14:useLocalDpi xmlns:a14="http://schemas.microsoft.com/office/drawing/2010/main" val="0"/>
              </a:ext>
            </a:extLst>
          </a:blip>
          <a:stretch>
            <a:fillRect/>
          </a:stretch>
        </p:blipFill>
        <p:spPr>
          <a:xfrm>
            <a:off x="169271" y="612000"/>
            <a:ext cx="288000" cy="288000"/>
          </a:xfrm>
          <a:prstGeom prst="rect">
            <a:avLst/>
          </a:prstGeom>
        </p:spPr>
      </p:pic>
      <p:sp>
        <p:nvSpPr>
          <p:cNvPr id="110" name="Прямоугольник 109">
            <a:extLst>
              <a:ext uri="{FF2B5EF4-FFF2-40B4-BE49-F238E27FC236}">
                <a16:creationId xmlns:a16="http://schemas.microsoft.com/office/drawing/2014/main" id="{8EA413F7-F2CF-2E4F-AA2A-807627A1CBCD}"/>
              </a:ext>
            </a:extLst>
          </p:cNvPr>
          <p:cNvSpPr/>
          <p:nvPr userDrawn="1"/>
        </p:nvSpPr>
        <p:spPr>
          <a:xfrm>
            <a:off x="0" y="572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1" name="TextBox 110">
            <a:extLst>
              <a:ext uri="{FF2B5EF4-FFF2-40B4-BE49-F238E27FC236}">
                <a16:creationId xmlns:a16="http://schemas.microsoft.com/office/drawing/2014/main" id="{8010D40C-1CDB-AD43-868B-0071FF18907C}"/>
              </a:ext>
            </a:extLst>
          </p:cNvPr>
          <p:cNvSpPr txBox="1"/>
          <p:nvPr userDrawn="1"/>
        </p:nvSpPr>
        <p:spPr>
          <a:xfrm>
            <a:off x="604489" y="58245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112" name="Рисунок 111">
            <a:extLst>
              <a:ext uri="{FF2B5EF4-FFF2-40B4-BE49-F238E27FC236}">
                <a16:creationId xmlns:a16="http://schemas.microsoft.com/office/drawing/2014/main" id="{389A9504-9942-9C46-B91B-4F6395AD3AC2}"/>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5796000"/>
            <a:ext cx="288000" cy="288000"/>
          </a:xfrm>
          <a:prstGeom prst="rect">
            <a:avLst/>
          </a:prstGeom>
        </p:spPr>
      </p:pic>
      <p:sp>
        <p:nvSpPr>
          <p:cNvPr id="194" name="Прямоугольник 193">
            <a:extLst>
              <a:ext uri="{FF2B5EF4-FFF2-40B4-BE49-F238E27FC236}">
                <a16:creationId xmlns:a16="http://schemas.microsoft.com/office/drawing/2014/main" id="{1AEB36F1-0B85-8D4A-B3C9-47F82A5FA594}"/>
              </a:ext>
            </a:extLst>
          </p:cNvPr>
          <p:cNvSpPr/>
          <p:nvPr userDrawn="1"/>
        </p:nvSpPr>
        <p:spPr>
          <a:xfrm>
            <a:off x="0" y="61560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95" name="TextBox 194">
            <a:extLst>
              <a:ext uri="{FF2B5EF4-FFF2-40B4-BE49-F238E27FC236}">
                <a16:creationId xmlns:a16="http://schemas.microsoft.com/office/drawing/2014/main" id="{013E5196-FDF2-7948-B005-A97E7E9527E5}"/>
              </a:ext>
            </a:extLst>
          </p:cNvPr>
          <p:cNvSpPr txBox="1"/>
          <p:nvPr userDrawn="1"/>
        </p:nvSpPr>
        <p:spPr>
          <a:xfrm>
            <a:off x="604489" y="6256584"/>
            <a:ext cx="1439290" cy="230832"/>
          </a:xfrm>
          <a:prstGeom prst="rect">
            <a:avLst/>
          </a:prstGeom>
          <a:noFill/>
        </p:spPr>
        <p:txBody>
          <a:bodyPr wrap="square" rtlCol="0" anchor="ctr">
            <a:spAutoFit/>
          </a:bodyPr>
          <a:lstStyle/>
          <a:p>
            <a:r>
              <a:rPr lang="ru-RU" sz="900" b="1" dirty="0">
                <a:solidFill>
                  <a:schemeClr val="bg1"/>
                </a:solidFill>
              </a:rPr>
              <a:t>Дополнительно</a:t>
            </a:r>
          </a:p>
        </p:txBody>
      </p:sp>
      <p:pic>
        <p:nvPicPr>
          <p:cNvPr id="196" name="Рисунок 195">
            <a:extLst>
              <a:ext uri="{FF2B5EF4-FFF2-40B4-BE49-F238E27FC236}">
                <a16:creationId xmlns:a16="http://schemas.microsoft.com/office/drawing/2014/main" id="{26E4282E-A92C-F140-9BC2-BCAB9E7C9807}"/>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171523" y="6228000"/>
            <a:ext cx="288000" cy="288000"/>
          </a:xfrm>
          <a:prstGeom prst="rect">
            <a:avLst/>
          </a:prstGeom>
        </p:spPr>
      </p:pic>
      <p:sp>
        <p:nvSpPr>
          <p:cNvPr id="53" name="Прямоугольник 52">
            <a:extLst>
              <a:ext uri="{FF2B5EF4-FFF2-40B4-BE49-F238E27FC236}">
                <a16:creationId xmlns:a16="http://schemas.microsoft.com/office/drawing/2014/main" id="{3C6A29F3-0ED7-9646-9C12-A135630D20B9}"/>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4" name="Рисунок 53">
            <a:extLst>
              <a:ext uri="{FF2B5EF4-FFF2-40B4-BE49-F238E27FC236}">
                <a16:creationId xmlns:a16="http://schemas.microsoft.com/office/drawing/2014/main" id="{490BA47B-644C-164D-8434-599A8D845AE6}"/>
              </a:ext>
            </a:extLst>
          </p:cNvPr>
          <p:cNvPicPr>
            <a:picLocks noChangeAspect="1"/>
          </p:cNvPicPr>
          <p:nvPr userDrawn="1"/>
        </p:nvPicPr>
        <p:blipFill rotWithShape="1">
          <a:blip r:embed="rId16"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pic>
        <p:nvPicPr>
          <p:cNvPr id="2" name="Рисунок 1"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3" name="Рисунок 2"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4" name="Рисунок 3"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5" name="Рисунок 4"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6" name="Рисунок 5"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7" name="Рисунок 6"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spTree>
    <p:extLst>
      <p:ext uri="{BB962C8B-B14F-4D97-AF65-F5344CB8AC3E}">
        <p14:creationId xmlns:p14="http://schemas.microsoft.com/office/powerpoint/2010/main" val="77286162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ОС блока (лого)">
    <p:spTree>
      <p:nvGrpSpPr>
        <p:cNvPr id="1" name=""/>
        <p:cNvGrpSpPr/>
        <p:nvPr/>
      </p:nvGrpSpPr>
      <p:grpSpPr>
        <a:xfrm>
          <a:off x="0" y="0"/>
          <a:ext cx="0" cy="0"/>
          <a:chOff x="0" y="0"/>
          <a:chExt cx="0" cy="0"/>
        </a:xfrm>
      </p:grpSpPr>
      <p:sp>
        <p:nvSpPr>
          <p:cNvPr id="38" name="Title 1">
            <a:extLst>
              <a:ext uri="{FF2B5EF4-FFF2-40B4-BE49-F238E27FC236}">
                <a16:creationId xmlns:a16="http://schemas.microsoft.com/office/drawing/2014/main" id="{F58A97C1-CBDC-F341-AB90-EB0671A1DA02}"/>
              </a:ext>
            </a:extLst>
          </p:cNvPr>
          <p:cNvSpPr>
            <a:spLocks noGrp="1"/>
          </p:cNvSpPr>
          <p:nvPr>
            <p:ph type="title"/>
          </p:nvPr>
        </p:nvSpPr>
        <p:spPr>
          <a:xfrm>
            <a:off x="191344" y="1"/>
            <a:ext cx="9289032"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4" name="TextBox 93">
            <a:extLst>
              <a:ext uri="{FF2B5EF4-FFF2-40B4-BE49-F238E27FC236}">
                <a16:creationId xmlns:a16="http://schemas.microsoft.com/office/drawing/2014/main" id="{8ABAD0E0-B078-FF4E-83AF-D94F3678245B}"/>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pic>
        <p:nvPicPr>
          <p:cNvPr id="3" name="Рисунок 2">
            <a:extLst>
              <a:ext uri="{FF2B5EF4-FFF2-40B4-BE49-F238E27FC236}">
                <a16:creationId xmlns:a16="http://schemas.microsoft.com/office/drawing/2014/main" id="{892DAC0A-FA61-6547-9C54-FE7681EEEB8D}"/>
              </a:ext>
            </a:extLst>
          </p:cNvPr>
          <p:cNvPicPr>
            <a:picLocks noChangeAspect="1"/>
          </p:cNvPicPr>
          <p:nvPr userDrawn="1"/>
        </p:nvPicPr>
        <p:blipFill rotWithShape="1">
          <a:blip r:embed="rId2" cstate="print">
            <a:clrChange>
              <a:clrFrom>
                <a:srgbClr val="215F38"/>
              </a:clrFrom>
              <a:clrTo>
                <a:srgbClr val="215F38">
                  <a:alpha val="0"/>
                </a:srgbClr>
              </a:clrTo>
            </a:clrChange>
            <a:extLst>
              <a:ext uri="{28A0092B-C50C-407E-A947-70E740481C1C}">
                <a14:useLocalDpi xmlns:a14="http://schemas.microsoft.com/office/drawing/2010/main" val="0"/>
              </a:ext>
            </a:extLst>
          </a:blip>
          <a:srcRect l="12458" t="15687" r="11313" b="65496"/>
          <a:stretch/>
        </p:blipFill>
        <p:spPr>
          <a:xfrm>
            <a:off x="10380391" y="0"/>
            <a:ext cx="1640806" cy="540000"/>
          </a:xfrm>
          <a:prstGeom prst="rect">
            <a:avLst/>
          </a:prstGeom>
        </p:spPr>
      </p:pic>
      <p:pic>
        <p:nvPicPr>
          <p:cNvPr id="5" name="Рисунок 4" descr="http://DF3E5075026D06B109AE70DBF9D6CDD1.dms.sberbank.ru/DF3E5075026D06B109AE70DBF9D6CDD1-92DCC9725E0A03BFCF87C98938EC5031-7C306E030999F7BF689A16489D167D10/1.png"/>
          <p:cNvPicPr>
            <a:picLocks/>
          </p:cNvPicPr>
          <p:nvPr userDrawn="1"/>
        </p:nvPicPr>
        <p:blipFill>
          <a:blip r:link="rId3"/>
          <a:stretch>
            <a:fillRect/>
          </a:stretch>
        </p:blipFill>
        <p:spPr>
          <a:xfrm>
            <a:off x="0" y="0"/>
            <a:ext cx="1588" cy="1588"/>
          </a:xfrm>
          <a:prstGeom prst="rect">
            <a:avLst/>
          </a:prstGeom>
        </p:spPr>
      </p:pic>
      <p:pic>
        <p:nvPicPr>
          <p:cNvPr id="6" name="Рисунок 5" descr="http://DF3E5075026D06B109AE70DBF9D6CDD1.dms.sberbank.ru/DF3E5075026D06B109AE70DBF9D6CDD1-92DCC9725E0A03BFCF87C98938EC5031-7C306E030999F7BF689A16489D167D10/1.png"/>
          <p:cNvPicPr>
            <a:picLocks/>
          </p:cNvPicPr>
          <p:nvPr userDrawn="1"/>
        </p:nvPicPr>
        <p:blipFill>
          <a:blip r:link="rId3"/>
          <a:stretch>
            <a:fillRect/>
          </a:stretch>
        </p:blipFill>
        <p:spPr>
          <a:xfrm>
            <a:off x="0" y="0"/>
            <a:ext cx="1588" cy="1588"/>
          </a:xfrm>
          <a:prstGeom prst="rect">
            <a:avLst/>
          </a:prstGeom>
        </p:spPr>
      </p:pic>
    </p:spTree>
    <p:extLst>
      <p:ext uri="{BB962C8B-B14F-4D97-AF65-F5344CB8AC3E}">
        <p14:creationId xmlns:p14="http://schemas.microsoft.com/office/powerpoint/2010/main" val="133398017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Основной">
    <p:spTree>
      <p:nvGrpSpPr>
        <p:cNvPr id="1" name=""/>
        <p:cNvGrpSpPr/>
        <p:nvPr/>
      </p:nvGrpSpPr>
      <p:grpSpPr>
        <a:xfrm>
          <a:off x="0" y="0"/>
          <a:ext cx="0" cy="0"/>
          <a:chOff x="0" y="0"/>
          <a:chExt cx="0" cy="0"/>
        </a:xfrm>
      </p:grpSpPr>
      <p:pic>
        <p:nvPicPr>
          <p:cNvPr id="24" name="Picture 5"/>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7673" y="-19049"/>
            <a:ext cx="9692217" cy="722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Параллелограмм 14"/>
          <p:cNvSpPr>
            <a:spLocks/>
          </p:cNvSpPr>
          <p:nvPr userDrawn="1"/>
        </p:nvSpPr>
        <p:spPr bwMode="auto">
          <a:xfrm>
            <a:off x="11562908" y="6544797"/>
            <a:ext cx="350400" cy="325880"/>
          </a:xfrm>
          <a:prstGeom prst="parallelogram">
            <a:avLst>
              <a:gd name="adj" fmla="val 53250"/>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19" name="Параллелограмм 18"/>
          <p:cNvSpPr/>
          <p:nvPr userDrawn="1"/>
        </p:nvSpPr>
        <p:spPr bwMode="auto">
          <a:xfrm>
            <a:off x="9136868" y="14480"/>
            <a:ext cx="426827" cy="606208"/>
          </a:xfrm>
          <a:prstGeom prst="parallelogram">
            <a:avLst>
              <a:gd name="adj" fmla="val 80500"/>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23" name="Параллелограмм 22"/>
          <p:cNvSpPr>
            <a:spLocks/>
          </p:cNvSpPr>
          <p:nvPr userDrawn="1"/>
        </p:nvSpPr>
        <p:spPr bwMode="auto">
          <a:xfrm>
            <a:off x="9346968" y="44231"/>
            <a:ext cx="385432" cy="367200"/>
          </a:xfrm>
          <a:prstGeom prst="parallelogram">
            <a:avLst>
              <a:gd name="adj" fmla="val 53287"/>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7" name="Text Box 14"/>
          <p:cNvSpPr txBox="1">
            <a:spLocks noChangeArrowheads="1"/>
          </p:cNvSpPr>
          <p:nvPr userDrawn="1"/>
        </p:nvSpPr>
        <p:spPr bwMode="auto">
          <a:xfrm>
            <a:off x="-74083" y="6669361"/>
            <a:ext cx="4978400" cy="276999"/>
          </a:xfrm>
          <a:prstGeom prst="rect">
            <a:avLst/>
          </a:prstGeom>
          <a:noFill/>
          <a:ln>
            <a:noFill/>
          </a:ln>
        </p:spPr>
        <p:txBody>
          <a:bodyPr>
            <a:spAutoFit/>
          </a:bodyPr>
          <a:lstStyle>
            <a:lvl1pPr marL="173038" indent="-173038" eaLnBrk="0" hangingPunct="0">
              <a:defRPr>
                <a:solidFill>
                  <a:schemeClr val="tx1"/>
                </a:solidFill>
                <a:latin typeface="Franklin Gothic Book" pitchFamily="34" charset="0"/>
              </a:defRPr>
            </a:lvl1pPr>
            <a:lvl2pPr marL="742950" indent="-285750" eaLnBrk="0" hangingPunct="0">
              <a:defRPr>
                <a:solidFill>
                  <a:schemeClr val="tx1"/>
                </a:solidFill>
                <a:latin typeface="Franklin Gothic Book" pitchFamily="34" charset="0"/>
              </a:defRPr>
            </a:lvl2pPr>
            <a:lvl3pPr marL="1143000" indent="-228600" eaLnBrk="0" hangingPunct="0">
              <a:defRPr>
                <a:solidFill>
                  <a:schemeClr val="tx1"/>
                </a:solidFill>
                <a:latin typeface="Franklin Gothic Book" pitchFamily="34" charset="0"/>
              </a:defRPr>
            </a:lvl3pPr>
            <a:lvl4pPr marL="1600200" indent="-228600" eaLnBrk="0" hangingPunct="0">
              <a:defRPr>
                <a:solidFill>
                  <a:schemeClr val="tx1"/>
                </a:solidFill>
                <a:latin typeface="Franklin Gothic Book" pitchFamily="34" charset="0"/>
              </a:defRPr>
            </a:lvl4pPr>
            <a:lvl5pPr marL="2057400" indent="-228600" eaLnBrk="0" hangingPunct="0">
              <a:defRPr>
                <a:solidFill>
                  <a:schemeClr val="tx1"/>
                </a:solidFill>
                <a:latin typeface="Franklin Gothic Book" pitchFamily="34" charset="0"/>
              </a:defRPr>
            </a:lvl5pPr>
            <a:lvl6pPr marL="2514600" indent="-228600" eaLnBrk="0" fontAlgn="base" hangingPunct="0">
              <a:spcBef>
                <a:spcPct val="0"/>
              </a:spcBef>
              <a:spcAft>
                <a:spcPct val="0"/>
              </a:spcAft>
              <a:defRPr>
                <a:solidFill>
                  <a:schemeClr val="tx1"/>
                </a:solidFill>
                <a:latin typeface="Franklin Gothic Book" pitchFamily="34" charset="0"/>
              </a:defRPr>
            </a:lvl6pPr>
            <a:lvl7pPr marL="2971800" indent="-228600" eaLnBrk="0" fontAlgn="base" hangingPunct="0">
              <a:spcBef>
                <a:spcPct val="0"/>
              </a:spcBef>
              <a:spcAft>
                <a:spcPct val="0"/>
              </a:spcAft>
              <a:defRPr>
                <a:solidFill>
                  <a:schemeClr val="tx1"/>
                </a:solidFill>
                <a:latin typeface="Franklin Gothic Book" pitchFamily="34" charset="0"/>
              </a:defRPr>
            </a:lvl7pPr>
            <a:lvl8pPr marL="3429000" indent="-228600" eaLnBrk="0" fontAlgn="base" hangingPunct="0">
              <a:spcBef>
                <a:spcPct val="0"/>
              </a:spcBef>
              <a:spcAft>
                <a:spcPct val="0"/>
              </a:spcAft>
              <a:defRPr>
                <a:solidFill>
                  <a:schemeClr val="tx1"/>
                </a:solidFill>
                <a:latin typeface="Franklin Gothic Book" pitchFamily="34" charset="0"/>
              </a:defRPr>
            </a:lvl8pPr>
            <a:lvl9pPr marL="3886200" indent="-228600" eaLnBrk="0" fontAlgn="base" hangingPunct="0">
              <a:spcBef>
                <a:spcPct val="0"/>
              </a:spcBef>
              <a:spcAft>
                <a:spcPct val="0"/>
              </a:spcAft>
              <a:defRPr>
                <a:solidFill>
                  <a:schemeClr val="tx1"/>
                </a:solidFill>
                <a:latin typeface="Franklin Gothic Book" pitchFamily="34" charset="0"/>
              </a:defRPr>
            </a:lvl9pPr>
          </a:lstStyle>
          <a:p>
            <a:pPr eaLnBrk="1" hangingPunct="1">
              <a:spcBef>
                <a:spcPct val="50000"/>
              </a:spcBef>
              <a:defRPr/>
            </a:pPr>
            <a:r>
              <a:rPr lang="ru-RU" sz="1200" dirty="0">
                <a:solidFill>
                  <a:schemeClr val="tx1"/>
                </a:solidFill>
                <a:latin typeface="Calibri" pitchFamily="34" charset="0"/>
                <a:cs typeface="Calibri" pitchFamily="34" charset="0"/>
              </a:rPr>
              <a:t>© Департамент финансов</a:t>
            </a:r>
            <a:endParaRPr lang="en-US" sz="1200" dirty="0">
              <a:solidFill>
                <a:schemeClr val="tx1"/>
              </a:solidFill>
              <a:latin typeface="Calibri" pitchFamily="34" charset="0"/>
              <a:cs typeface="Calibri" pitchFamily="34" charset="0"/>
            </a:endParaRPr>
          </a:p>
        </p:txBody>
      </p:sp>
      <p:sp>
        <p:nvSpPr>
          <p:cNvPr id="9" name="Параллелограмм 8"/>
          <p:cNvSpPr/>
          <p:nvPr userDrawn="1"/>
        </p:nvSpPr>
        <p:spPr bwMode="auto">
          <a:xfrm>
            <a:off x="11623616" y="5894485"/>
            <a:ext cx="667339" cy="1152000"/>
          </a:xfrm>
          <a:prstGeom prst="parallelogram">
            <a:avLst>
              <a:gd name="adj" fmla="val 97137"/>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Tree>
    <p:extLst>
      <p:ext uri="{BB962C8B-B14F-4D97-AF65-F5344CB8AC3E}">
        <p14:creationId xmlns:p14="http://schemas.microsoft.com/office/powerpoint/2010/main" val="20142245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Чужие слайды">
    <p:spTree>
      <p:nvGrpSpPr>
        <p:cNvPr id="1" name=""/>
        <p:cNvGrpSpPr/>
        <p:nvPr/>
      </p:nvGrpSpPr>
      <p:grpSpPr>
        <a:xfrm>
          <a:off x="0" y="0"/>
          <a:ext cx="0" cy="0"/>
          <a:chOff x="0" y="0"/>
          <a:chExt cx="0" cy="0"/>
        </a:xfrm>
      </p:grpSpPr>
      <p:pic>
        <p:nvPicPr>
          <p:cNvPr id="24" name="Picture 5"/>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48682" y="-19049"/>
            <a:ext cx="9692217" cy="722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Параллелограмм 14"/>
          <p:cNvSpPr>
            <a:spLocks/>
          </p:cNvSpPr>
          <p:nvPr userDrawn="1"/>
        </p:nvSpPr>
        <p:spPr bwMode="auto">
          <a:xfrm>
            <a:off x="11562908" y="6544797"/>
            <a:ext cx="350400" cy="325880"/>
          </a:xfrm>
          <a:prstGeom prst="parallelogram">
            <a:avLst>
              <a:gd name="adj" fmla="val 53250"/>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19" name="Параллелограмм 18"/>
          <p:cNvSpPr/>
          <p:nvPr userDrawn="1"/>
        </p:nvSpPr>
        <p:spPr bwMode="auto">
          <a:xfrm>
            <a:off x="9136868" y="14480"/>
            <a:ext cx="426827" cy="606208"/>
          </a:xfrm>
          <a:prstGeom prst="parallelogram">
            <a:avLst>
              <a:gd name="adj" fmla="val 80500"/>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23" name="Параллелограмм 22"/>
          <p:cNvSpPr>
            <a:spLocks/>
          </p:cNvSpPr>
          <p:nvPr userDrawn="1"/>
        </p:nvSpPr>
        <p:spPr bwMode="auto">
          <a:xfrm>
            <a:off x="9346968" y="44231"/>
            <a:ext cx="385432" cy="367200"/>
          </a:xfrm>
          <a:prstGeom prst="parallelogram">
            <a:avLst>
              <a:gd name="adj" fmla="val 53287"/>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9" name="Параллелограмм 8"/>
          <p:cNvSpPr/>
          <p:nvPr userDrawn="1"/>
        </p:nvSpPr>
        <p:spPr bwMode="auto">
          <a:xfrm>
            <a:off x="11623616" y="5894485"/>
            <a:ext cx="667339" cy="1152000"/>
          </a:xfrm>
          <a:prstGeom prst="parallelogram">
            <a:avLst>
              <a:gd name="adj" fmla="val 97137"/>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pic>
        <p:nvPicPr>
          <p:cNvPr id="12" name="Рисунок 11" descr="http://D0340E7D5E8451B36CF9DE5E517AB11D.dms.sberbank.ru/D0340E7D5E8451B36CF9DE5E517AB11D-76E77F61EA6BF346E8CD249421A1F0C6-979C24910635A5F09AF6D68FE94A4CA8/1.png"/>
          <p:cNvPicPr>
            <a:picLocks/>
          </p:cNvPicPr>
          <p:nvPr userDrawn="1"/>
        </p:nvPicPr>
        <p:blipFill>
          <a:blip r:link="rId3"/>
          <a:stretch>
            <a:fillRect/>
          </a:stretch>
        </p:blipFill>
        <p:spPr>
          <a:xfrm>
            <a:off x="0" y="0"/>
            <a:ext cx="1588" cy="1588"/>
          </a:xfrm>
          <a:prstGeom prst="rect">
            <a:avLst/>
          </a:prstGeom>
        </p:spPr>
      </p:pic>
    </p:spTree>
    <p:extLst>
      <p:ext uri="{BB962C8B-B14F-4D97-AF65-F5344CB8AC3E}">
        <p14:creationId xmlns:p14="http://schemas.microsoft.com/office/powerpoint/2010/main" val="206652512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Содержание">
    <p:spTree>
      <p:nvGrpSpPr>
        <p:cNvPr id="1" name=""/>
        <p:cNvGrpSpPr/>
        <p:nvPr/>
      </p:nvGrpSpPr>
      <p:grpSpPr>
        <a:xfrm>
          <a:off x="0" y="0"/>
          <a:ext cx="0" cy="0"/>
          <a:chOff x="0" y="0"/>
          <a:chExt cx="0" cy="0"/>
        </a:xfrm>
      </p:grpSpPr>
      <p:sp>
        <p:nvSpPr>
          <p:cNvPr id="23" name="Параллелограмм 22"/>
          <p:cNvSpPr>
            <a:spLocks/>
          </p:cNvSpPr>
          <p:nvPr userDrawn="1"/>
        </p:nvSpPr>
        <p:spPr bwMode="auto">
          <a:xfrm>
            <a:off x="239392" y="-27384"/>
            <a:ext cx="384000" cy="367200"/>
          </a:xfrm>
          <a:prstGeom prst="parallelogram">
            <a:avLst>
              <a:gd name="adj" fmla="val 53287"/>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19" name="Параллелограмм 18"/>
          <p:cNvSpPr/>
          <p:nvPr userDrawn="1"/>
        </p:nvSpPr>
        <p:spPr bwMode="auto">
          <a:xfrm>
            <a:off x="71392" y="44624"/>
            <a:ext cx="336000" cy="468000"/>
          </a:xfrm>
          <a:prstGeom prst="parallelogram">
            <a:avLst>
              <a:gd name="adj" fmla="val 77525"/>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6" name="Параллелограмм 5"/>
          <p:cNvSpPr>
            <a:spLocks/>
          </p:cNvSpPr>
          <p:nvPr userDrawn="1"/>
        </p:nvSpPr>
        <p:spPr bwMode="auto">
          <a:xfrm>
            <a:off x="11562908" y="6544797"/>
            <a:ext cx="350400" cy="325880"/>
          </a:xfrm>
          <a:prstGeom prst="parallelogram">
            <a:avLst>
              <a:gd name="adj" fmla="val 53250"/>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7" name="Параллелограмм 6"/>
          <p:cNvSpPr/>
          <p:nvPr userDrawn="1"/>
        </p:nvSpPr>
        <p:spPr bwMode="auto">
          <a:xfrm>
            <a:off x="11623616" y="5894485"/>
            <a:ext cx="667339" cy="1152000"/>
          </a:xfrm>
          <a:prstGeom prst="parallelogram">
            <a:avLst>
              <a:gd name="adj" fmla="val 97137"/>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Tree>
    <p:extLst>
      <p:ext uri="{BB962C8B-B14F-4D97-AF65-F5344CB8AC3E}">
        <p14:creationId xmlns:p14="http://schemas.microsoft.com/office/powerpoint/2010/main" val="77456064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Титульный">
    <p:spTree>
      <p:nvGrpSpPr>
        <p:cNvPr id="1" name=""/>
        <p:cNvGrpSpPr/>
        <p:nvPr/>
      </p:nvGrpSpPr>
      <p:grpSpPr>
        <a:xfrm>
          <a:off x="0" y="0"/>
          <a:ext cx="0" cy="0"/>
          <a:chOff x="0" y="0"/>
          <a:chExt cx="0" cy="0"/>
        </a:xfrm>
      </p:grpSpPr>
      <p:sp>
        <p:nvSpPr>
          <p:cNvPr id="13" name="Прямоугольный треугольник 12"/>
          <p:cNvSpPr/>
          <p:nvPr userDrawn="1"/>
        </p:nvSpPr>
        <p:spPr bwMode="auto">
          <a:xfrm rot="10800000" flipH="1">
            <a:off x="-432711" y="-425"/>
            <a:ext cx="3727205" cy="5737692"/>
          </a:xfrm>
          <a:prstGeom prst="rtTriangle">
            <a:avLst/>
          </a:prstGeom>
          <a:gradFill flip="none" rotWithShape="1">
            <a:gsLst>
              <a:gs pos="0">
                <a:schemeClr val="accent1">
                  <a:tint val="66000"/>
                  <a:satMod val="160000"/>
                </a:schemeClr>
              </a:gs>
              <a:gs pos="0">
                <a:schemeClr val="bg1">
                  <a:lumMod val="85000"/>
                </a:schemeClr>
              </a:gs>
              <a:gs pos="100000">
                <a:srgbClr val="E8E8E8"/>
              </a:gs>
            </a:gsLst>
            <a:lin ang="16200000" scaled="1"/>
            <a:tileRect/>
          </a:gradFill>
          <a:ln w="9525" cap="flat" cmpd="sng" algn="ctr">
            <a:noFill/>
            <a:prstDash val="solid"/>
            <a:round/>
            <a:headEnd type="none" w="med" len="med"/>
            <a:tailEnd type="none" w="med" len="med"/>
          </a:ln>
          <a:effectLst/>
        </p:spPr>
        <p:txBody>
          <a:bodyPr vert="horz" wrap="square" lIns="121920" tIns="60960" rIns="121920" bIns="60960" numCol="1" rtlCol="0" anchor="ctr" anchorCtr="0" compatLnSpc="1">
            <a:prstTxWarp prst="textNoShape">
              <a:avLst/>
            </a:prstTxWarp>
          </a:bodyPr>
          <a:lstStyle/>
          <a:p>
            <a:pPr marL="0" marR="0" indent="0" algn="l" defTabSz="1219170" rtl="0" eaLnBrk="1" fontAlgn="base" latinLnBrk="0" hangingPunct="1">
              <a:lnSpc>
                <a:spcPct val="100000"/>
              </a:lnSpc>
              <a:spcBef>
                <a:spcPct val="0"/>
              </a:spcBef>
              <a:spcAft>
                <a:spcPct val="0"/>
              </a:spcAft>
              <a:buClrTx/>
              <a:buSzTx/>
              <a:buFontTx/>
              <a:buNone/>
              <a:tabLst/>
            </a:pPr>
            <a:endParaRPr kumimoji="0" lang="ru-RU" sz="2400" b="0" i="0" u="none" strike="noStrike" cap="none" normalizeH="0" baseline="0" dirty="0">
              <a:ln>
                <a:noFill/>
              </a:ln>
              <a:solidFill>
                <a:schemeClr val="tx1"/>
              </a:solidFill>
              <a:effectLst/>
              <a:latin typeface="Franklin Gothic Book" pitchFamily="34" charset="0"/>
            </a:endParaRPr>
          </a:p>
        </p:txBody>
      </p:sp>
      <p:sp>
        <p:nvSpPr>
          <p:cNvPr id="19" name="Параллелограмм 18"/>
          <p:cNvSpPr/>
          <p:nvPr userDrawn="1"/>
        </p:nvSpPr>
        <p:spPr bwMode="auto">
          <a:xfrm>
            <a:off x="8592277" y="-6985"/>
            <a:ext cx="494400" cy="606208"/>
          </a:xfrm>
          <a:prstGeom prst="parallelogram">
            <a:avLst>
              <a:gd name="adj" fmla="val 80500"/>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23" name="Параллелограмм 22"/>
          <p:cNvSpPr>
            <a:spLocks/>
          </p:cNvSpPr>
          <p:nvPr userDrawn="1"/>
        </p:nvSpPr>
        <p:spPr bwMode="auto">
          <a:xfrm>
            <a:off x="1009269" y="865"/>
            <a:ext cx="2280000" cy="3356129"/>
          </a:xfrm>
          <a:prstGeom prst="parallelogram">
            <a:avLst>
              <a:gd name="adj" fmla="val 94917"/>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pic>
        <p:nvPicPr>
          <p:cNvPr id="7" name="Picture 15" descr="logo"/>
          <p:cNvPicPr>
            <a:picLocks noChangeAspect="1" noChangeArrowheads="1"/>
          </p:cNvPicPr>
          <p:nvPr userDrawn="1"/>
        </p:nvPicPr>
        <p:blipFill>
          <a:blip r:embed="rId2" cstate="print"/>
          <a:srcRect/>
          <a:stretch>
            <a:fillRect/>
          </a:stretch>
        </p:blipFill>
        <p:spPr bwMode="auto">
          <a:xfrm>
            <a:off x="9539684" y="324695"/>
            <a:ext cx="2349955" cy="468000"/>
          </a:xfrm>
          <a:prstGeom prst="rect">
            <a:avLst/>
          </a:prstGeom>
          <a:noFill/>
          <a:ln w="9525">
            <a:noFill/>
            <a:miter lim="800000"/>
            <a:headEnd/>
            <a:tailEnd/>
          </a:ln>
        </p:spPr>
      </p:pic>
      <p:sp>
        <p:nvSpPr>
          <p:cNvPr id="9" name="Параллелограмм 8"/>
          <p:cNvSpPr>
            <a:spLocks/>
          </p:cNvSpPr>
          <p:nvPr userDrawn="1"/>
        </p:nvSpPr>
        <p:spPr bwMode="auto">
          <a:xfrm>
            <a:off x="8123993" y="149182"/>
            <a:ext cx="681600" cy="938244"/>
          </a:xfrm>
          <a:prstGeom prst="parallelogram">
            <a:avLst>
              <a:gd name="adj" fmla="val 88198"/>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12" name="Прямоугольный треугольник 11"/>
          <p:cNvSpPr/>
          <p:nvPr userDrawn="1"/>
        </p:nvSpPr>
        <p:spPr bwMode="auto">
          <a:xfrm flipH="1">
            <a:off x="8922242" y="1124745"/>
            <a:ext cx="3727205" cy="5737692"/>
          </a:xfrm>
          <a:prstGeom prst="rtTriangle">
            <a:avLst/>
          </a:prstGeom>
          <a:gradFill flip="none" rotWithShape="1">
            <a:gsLst>
              <a:gs pos="0">
                <a:schemeClr val="accent1">
                  <a:tint val="66000"/>
                  <a:satMod val="160000"/>
                </a:schemeClr>
              </a:gs>
              <a:gs pos="0">
                <a:schemeClr val="bg1">
                  <a:lumMod val="85000"/>
                </a:schemeClr>
              </a:gs>
              <a:gs pos="100000">
                <a:srgbClr val="E8E8E8"/>
              </a:gs>
            </a:gsLst>
            <a:lin ang="16200000" scaled="1"/>
            <a:tileRect/>
          </a:gradFill>
          <a:ln w="9525" cap="flat" cmpd="sng" algn="ctr">
            <a:noFill/>
            <a:prstDash val="solid"/>
            <a:round/>
            <a:headEnd type="none" w="med" len="med"/>
            <a:tailEnd type="none" w="med" len="med"/>
          </a:ln>
          <a:effectLst/>
        </p:spPr>
        <p:txBody>
          <a:bodyPr vert="horz" wrap="square" lIns="121920" tIns="60960" rIns="121920" bIns="60960" numCol="1" rtlCol="0" anchor="ctr" anchorCtr="0" compatLnSpc="1">
            <a:prstTxWarp prst="textNoShape">
              <a:avLst/>
            </a:prstTxWarp>
          </a:bodyPr>
          <a:lstStyle/>
          <a:p>
            <a:pPr marL="0" marR="0" indent="0" algn="l" defTabSz="1219170" rtl="0" eaLnBrk="1" fontAlgn="base" latinLnBrk="0" hangingPunct="1">
              <a:lnSpc>
                <a:spcPct val="100000"/>
              </a:lnSpc>
              <a:spcBef>
                <a:spcPct val="0"/>
              </a:spcBef>
              <a:spcAft>
                <a:spcPct val="0"/>
              </a:spcAft>
              <a:buClrTx/>
              <a:buSzTx/>
              <a:buFontTx/>
              <a:buNone/>
              <a:tabLst/>
            </a:pPr>
            <a:endParaRPr kumimoji="0" lang="ru-RU" sz="2400" b="0" i="0" u="none" strike="noStrike" cap="none" normalizeH="0" baseline="0" dirty="0">
              <a:ln>
                <a:noFill/>
              </a:ln>
              <a:solidFill>
                <a:schemeClr val="tx1"/>
              </a:solidFill>
              <a:effectLst/>
              <a:latin typeface="Franklin Gothic Book" pitchFamily="34" charset="0"/>
            </a:endParaRPr>
          </a:p>
        </p:txBody>
      </p:sp>
      <p:sp>
        <p:nvSpPr>
          <p:cNvPr id="20" name="Параллелограмм 19"/>
          <p:cNvSpPr>
            <a:spLocks/>
          </p:cNvSpPr>
          <p:nvPr userDrawn="1"/>
        </p:nvSpPr>
        <p:spPr bwMode="auto">
          <a:xfrm>
            <a:off x="519194" y="-117881"/>
            <a:ext cx="911685" cy="828000"/>
          </a:xfrm>
          <a:prstGeom prst="parallelogram">
            <a:avLst>
              <a:gd name="adj" fmla="val 58313"/>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21" name="Параллелограмм 20"/>
          <p:cNvSpPr>
            <a:spLocks/>
          </p:cNvSpPr>
          <p:nvPr userDrawn="1"/>
        </p:nvSpPr>
        <p:spPr bwMode="auto">
          <a:xfrm>
            <a:off x="911432" y="6021288"/>
            <a:ext cx="895361" cy="1224136"/>
          </a:xfrm>
          <a:prstGeom prst="parallelogram">
            <a:avLst>
              <a:gd name="adj" fmla="val 89427"/>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22" name="Параллелограмм 21"/>
          <p:cNvSpPr>
            <a:spLocks/>
          </p:cNvSpPr>
          <p:nvPr userDrawn="1"/>
        </p:nvSpPr>
        <p:spPr bwMode="auto">
          <a:xfrm>
            <a:off x="-1603962" y="11051370"/>
            <a:ext cx="1207087" cy="1077735"/>
          </a:xfrm>
          <a:prstGeom prst="parallelogram">
            <a:avLst>
              <a:gd name="adj" fmla="val 58313"/>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26" name="Параллелограмм 25"/>
          <p:cNvSpPr/>
          <p:nvPr userDrawn="1"/>
        </p:nvSpPr>
        <p:spPr bwMode="auto">
          <a:xfrm>
            <a:off x="8911915" y="3471123"/>
            <a:ext cx="2476467" cy="3400839"/>
          </a:xfrm>
          <a:prstGeom prst="parallelogram">
            <a:avLst>
              <a:gd name="adj" fmla="val 89030"/>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27" name="Параллелограмм 26"/>
          <p:cNvSpPr>
            <a:spLocks/>
          </p:cNvSpPr>
          <p:nvPr userDrawn="1"/>
        </p:nvSpPr>
        <p:spPr bwMode="auto">
          <a:xfrm>
            <a:off x="11311877" y="5348940"/>
            <a:ext cx="671856" cy="936000"/>
          </a:xfrm>
          <a:prstGeom prst="parallelogram">
            <a:avLst>
              <a:gd name="adj" fmla="val 89427"/>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30" name="Параллелограмм 29"/>
          <p:cNvSpPr/>
          <p:nvPr userDrawn="1"/>
        </p:nvSpPr>
        <p:spPr bwMode="auto">
          <a:xfrm>
            <a:off x="632529" y="188119"/>
            <a:ext cx="720000" cy="1044000"/>
          </a:xfrm>
          <a:prstGeom prst="parallelogram">
            <a:avLst>
              <a:gd name="adj" fmla="val 92258"/>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24" name="Параллелограмм 23"/>
          <p:cNvSpPr/>
          <p:nvPr userDrawn="1"/>
        </p:nvSpPr>
        <p:spPr bwMode="auto">
          <a:xfrm>
            <a:off x="1641632" y="5816940"/>
            <a:ext cx="671856" cy="606208"/>
          </a:xfrm>
          <a:prstGeom prst="parallelogram">
            <a:avLst>
              <a:gd name="adj" fmla="val 57816"/>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31" name="Параллелограмм 30"/>
          <p:cNvSpPr/>
          <p:nvPr userDrawn="1"/>
        </p:nvSpPr>
        <p:spPr bwMode="auto">
          <a:xfrm>
            <a:off x="11551733" y="5153440"/>
            <a:ext cx="432000" cy="576000"/>
          </a:xfrm>
          <a:prstGeom prst="parallelogram">
            <a:avLst>
              <a:gd name="adj" fmla="val 83558"/>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Tree>
    <p:extLst>
      <p:ext uri="{BB962C8B-B14F-4D97-AF65-F5344CB8AC3E}">
        <p14:creationId xmlns:p14="http://schemas.microsoft.com/office/powerpoint/2010/main" val="45186543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1_Основной">
    <p:spTree>
      <p:nvGrpSpPr>
        <p:cNvPr id="1" name=""/>
        <p:cNvGrpSpPr/>
        <p:nvPr/>
      </p:nvGrpSpPr>
      <p:grpSpPr>
        <a:xfrm>
          <a:off x="0" y="0"/>
          <a:ext cx="0" cy="0"/>
          <a:chOff x="0" y="0"/>
          <a:chExt cx="0" cy="0"/>
        </a:xfrm>
      </p:grpSpPr>
      <p:pic>
        <p:nvPicPr>
          <p:cNvPr id="24" name="Picture 5"/>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7663" y="-19049"/>
            <a:ext cx="9692217" cy="722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Параллелограмм 14"/>
          <p:cNvSpPr>
            <a:spLocks/>
          </p:cNvSpPr>
          <p:nvPr userDrawn="1"/>
        </p:nvSpPr>
        <p:spPr bwMode="auto">
          <a:xfrm>
            <a:off x="11562908" y="6544797"/>
            <a:ext cx="350400" cy="325880"/>
          </a:xfrm>
          <a:prstGeom prst="parallelogram">
            <a:avLst>
              <a:gd name="adj" fmla="val 53250"/>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
        <p:nvSpPr>
          <p:cNvPr id="19" name="Параллелограмм 18"/>
          <p:cNvSpPr/>
          <p:nvPr userDrawn="1"/>
        </p:nvSpPr>
        <p:spPr bwMode="auto">
          <a:xfrm>
            <a:off x="9136868" y="14480"/>
            <a:ext cx="426827" cy="606208"/>
          </a:xfrm>
          <a:prstGeom prst="parallelogram">
            <a:avLst>
              <a:gd name="adj" fmla="val 80500"/>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
        <p:nvSpPr>
          <p:cNvPr id="23" name="Параллелограмм 22"/>
          <p:cNvSpPr>
            <a:spLocks/>
          </p:cNvSpPr>
          <p:nvPr userDrawn="1"/>
        </p:nvSpPr>
        <p:spPr bwMode="auto">
          <a:xfrm>
            <a:off x="9346968" y="44231"/>
            <a:ext cx="385432" cy="367200"/>
          </a:xfrm>
          <a:prstGeom prst="parallelogram">
            <a:avLst>
              <a:gd name="adj" fmla="val 53287"/>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
        <p:nvSpPr>
          <p:cNvPr id="7" name="Text Box 14"/>
          <p:cNvSpPr txBox="1">
            <a:spLocks noChangeArrowheads="1"/>
          </p:cNvSpPr>
          <p:nvPr userDrawn="1"/>
        </p:nvSpPr>
        <p:spPr bwMode="auto">
          <a:xfrm>
            <a:off x="-74083" y="6669361"/>
            <a:ext cx="4978400" cy="276999"/>
          </a:xfrm>
          <a:prstGeom prst="rect">
            <a:avLst/>
          </a:prstGeom>
          <a:noFill/>
          <a:ln>
            <a:noFill/>
          </a:ln>
        </p:spPr>
        <p:txBody>
          <a:bodyPr>
            <a:spAutoFit/>
          </a:bodyPr>
          <a:lstStyle>
            <a:lvl1pPr marL="173038" indent="-173038" eaLnBrk="0" hangingPunct="0">
              <a:defRPr>
                <a:solidFill>
                  <a:schemeClr val="tx1"/>
                </a:solidFill>
                <a:latin typeface="Franklin Gothic Book" pitchFamily="34" charset="0"/>
              </a:defRPr>
            </a:lvl1pPr>
            <a:lvl2pPr marL="742950" indent="-285750" eaLnBrk="0" hangingPunct="0">
              <a:defRPr>
                <a:solidFill>
                  <a:schemeClr val="tx1"/>
                </a:solidFill>
                <a:latin typeface="Franklin Gothic Book" pitchFamily="34" charset="0"/>
              </a:defRPr>
            </a:lvl2pPr>
            <a:lvl3pPr marL="1143000" indent="-228600" eaLnBrk="0" hangingPunct="0">
              <a:defRPr>
                <a:solidFill>
                  <a:schemeClr val="tx1"/>
                </a:solidFill>
                <a:latin typeface="Franklin Gothic Book" pitchFamily="34" charset="0"/>
              </a:defRPr>
            </a:lvl3pPr>
            <a:lvl4pPr marL="1600200" indent="-228600" eaLnBrk="0" hangingPunct="0">
              <a:defRPr>
                <a:solidFill>
                  <a:schemeClr val="tx1"/>
                </a:solidFill>
                <a:latin typeface="Franklin Gothic Book" pitchFamily="34" charset="0"/>
              </a:defRPr>
            </a:lvl4pPr>
            <a:lvl5pPr marL="2057400" indent="-228600" eaLnBrk="0" hangingPunct="0">
              <a:defRPr>
                <a:solidFill>
                  <a:schemeClr val="tx1"/>
                </a:solidFill>
                <a:latin typeface="Franklin Gothic Book" pitchFamily="34" charset="0"/>
              </a:defRPr>
            </a:lvl5pPr>
            <a:lvl6pPr marL="2514600" indent="-228600" eaLnBrk="0" fontAlgn="base" hangingPunct="0">
              <a:spcBef>
                <a:spcPct val="0"/>
              </a:spcBef>
              <a:spcAft>
                <a:spcPct val="0"/>
              </a:spcAft>
              <a:defRPr>
                <a:solidFill>
                  <a:schemeClr val="tx1"/>
                </a:solidFill>
                <a:latin typeface="Franklin Gothic Book" pitchFamily="34" charset="0"/>
              </a:defRPr>
            </a:lvl6pPr>
            <a:lvl7pPr marL="2971800" indent="-228600" eaLnBrk="0" fontAlgn="base" hangingPunct="0">
              <a:spcBef>
                <a:spcPct val="0"/>
              </a:spcBef>
              <a:spcAft>
                <a:spcPct val="0"/>
              </a:spcAft>
              <a:defRPr>
                <a:solidFill>
                  <a:schemeClr val="tx1"/>
                </a:solidFill>
                <a:latin typeface="Franklin Gothic Book" pitchFamily="34" charset="0"/>
              </a:defRPr>
            </a:lvl7pPr>
            <a:lvl8pPr marL="3429000" indent="-228600" eaLnBrk="0" fontAlgn="base" hangingPunct="0">
              <a:spcBef>
                <a:spcPct val="0"/>
              </a:spcBef>
              <a:spcAft>
                <a:spcPct val="0"/>
              </a:spcAft>
              <a:defRPr>
                <a:solidFill>
                  <a:schemeClr val="tx1"/>
                </a:solidFill>
                <a:latin typeface="Franklin Gothic Book" pitchFamily="34" charset="0"/>
              </a:defRPr>
            </a:lvl8pPr>
            <a:lvl9pPr marL="3886200" indent="-228600" eaLnBrk="0" fontAlgn="base" hangingPunct="0">
              <a:spcBef>
                <a:spcPct val="0"/>
              </a:spcBef>
              <a:spcAft>
                <a:spcPct val="0"/>
              </a:spcAft>
              <a:defRPr>
                <a:solidFill>
                  <a:schemeClr val="tx1"/>
                </a:solidFill>
                <a:latin typeface="Franklin Gothic Book" pitchFamily="34" charset="0"/>
              </a:defRPr>
            </a:lvl9pPr>
          </a:lstStyle>
          <a:p>
            <a:pPr eaLnBrk="1" hangingPunct="1">
              <a:spcBef>
                <a:spcPct val="50000"/>
              </a:spcBef>
              <a:defRPr/>
            </a:pPr>
            <a:r>
              <a:rPr lang="ru-RU" sz="1200" dirty="0">
                <a:solidFill>
                  <a:prstClr val="white">
                    <a:lumMod val="50000"/>
                  </a:prstClr>
                </a:solidFill>
                <a:latin typeface="Calibri" pitchFamily="34" charset="0"/>
                <a:cs typeface="Calibri" pitchFamily="34" charset="0"/>
              </a:rPr>
              <a:t>© Казначейство</a:t>
            </a:r>
            <a:endParaRPr lang="en-US" sz="1200" dirty="0">
              <a:solidFill>
                <a:prstClr val="white">
                  <a:lumMod val="50000"/>
                </a:prstClr>
              </a:solidFill>
              <a:latin typeface="Calibri" pitchFamily="34" charset="0"/>
              <a:cs typeface="Calibri" pitchFamily="34" charset="0"/>
            </a:endParaRPr>
          </a:p>
        </p:txBody>
      </p:sp>
      <p:sp>
        <p:nvSpPr>
          <p:cNvPr id="9" name="Параллелограмм 8"/>
          <p:cNvSpPr/>
          <p:nvPr userDrawn="1"/>
        </p:nvSpPr>
        <p:spPr bwMode="auto">
          <a:xfrm>
            <a:off x="11623632" y="5894485"/>
            <a:ext cx="667339" cy="1152000"/>
          </a:xfrm>
          <a:prstGeom prst="parallelogram">
            <a:avLst>
              <a:gd name="adj" fmla="val 97137"/>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Tree>
    <p:extLst>
      <p:ext uri="{BB962C8B-B14F-4D97-AF65-F5344CB8AC3E}">
        <p14:creationId xmlns:p14="http://schemas.microsoft.com/office/powerpoint/2010/main" val="158946115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1_Чужие слайды">
    <p:spTree>
      <p:nvGrpSpPr>
        <p:cNvPr id="1" name=""/>
        <p:cNvGrpSpPr/>
        <p:nvPr/>
      </p:nvGrpSpPr>
      <p:grpSpPr>
        <a:xfrm>
          <a:off x="0" y="0"/>
          <a:ext cx="0" cy="0"/>
          <a:chOff x="0" y="0"/>
          <a:chExt cx="0" cy="0"/>
        </a:xfrm>
      </p:grpSpPr>
      <p:pic>
        <p:nvPicPr>
          <p:cNvPr id="24" name="Picture 5"/>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7663" y="-19049"/>
            <a:ext cx="9692217" cy="722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Параллелограмм 14"/>
          <p:cNvSpPr>
            <a:spLocks/>
          </p:cNvSpPr>
          <p:nvPr userDrawn="1"/>
        </p:nvSpPr>
        <p:spPr bwMode="auto">
          <a:xfrm>
            <a:off x="11562908" y="6544797"/>
            <a:ext cx="350400" cy="325880"/>
          </a:xfrm>
          <a:prstGeom prst="parallelogram">
            <a:avLst>
              <a:gd name="adj" fmla="val 53250"/>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
        <p:nvSpPr>
          <p:cNvPr id="19" name="Параллелограмм 18"/>
          <p:cNvSpPr/>
          <p:nvPr userDrawn="1"/>
        </p:nvSpPr>
        <p:spPr bwMode="auto">
          <a:xfrm>
            <a:off x="9136868" y="14480"/>
            <a:ext cx="426827" cy="606208"/>
          </a:xfrm>
          <a:prstGeom prst="parallelogram">
            <a:avLst>
              <a:gd name="adj" fmla="val 80500"/>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
        <p:nvSpPr>
          <p:cNvPr id="23" name="Параллелограмм 22"/>
          <p:cNvSpPr>
            <a:spLocks/>
          </p:cNvSpPr>
          <p:nvPr userDrawn="1"/>
        </p:nvSpPr>
        <p:spPr bwMode="auto">
          <a:xfrm>
            <a:off x="9346968" y="44231"/>
            <a:ext cx="385432" cy="367200"/>
          </a:xfrm>
          <a:prstGeom prst="parallelogram">
            <a:avLst>
              <a:gd name="adj" fmla="val 53287"/>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
        <p:nvSpPr>
          <p:cNvPr id="9" name="Параллелограмм 8"/>
          <p:cNvSpPr/>
          <p:nvPr userDrawn="1"/>
        </p:nvSpPr>
        <p:spPr bwMode="auto">
          <a:xfrm>
            <a:off x="11623632" y="5894485"/>
            <a:ext cx="667339" cy="1152000"/>
          </a:xfrm>
          <a:prstGeom prst="parallelogram">
            <a:avLst>
              <a:gd name="adj" fmla="val 97137"/>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Tree>
    <p:extLst>
      <p:ext uri="{BB962C8B-B14F-4D97-AF65-F5344CB8AC3E}">
        <p14:creationId xmlns:p14="http://schemas.microsoft.com/office/powerpoint/2010/main" val="408491292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Титульный слайд">
    <p:spTree>
      <p:nvGrpSpPr>
        <p:cNvPr id="1" name=""/>
        <p:cNvGrpSpPr/>
        <p:nvPr/>
      </p:nvGrpSpPr>
      <p:grpSpPr>
        <a:xfrm>
          <a:off x="0" y="0"/>
          <a:ext cx="0" cy="0"/>
          <a:chOff x="0" y="0"/>
          <a:chExt cx="0" cy="0"/>
        </a:xfrm>
      </p:grpSpPr>
      <p:sp>
        <p:nvSpPr>
          <p:cNvPr id="6" name="Номер слайда 5">
            <a:extLst>
              <a:ext uri="{FF2B5EF4-FFF2-40B4-BE49-F238E27FC236}">
                <a16:creationId xmlns:a16="http://schemas.microsoft.com/office/drawing/2014/main" id="{7A1B117A-CE21-4836-AB2E-8DAF1E6D3D17}"/>
              </a:ext>
            </a:extLst>
          </p:cNvPr>
          <p:cNvSpPr>
            <a:spLocks noGrp="1"/>
          </p:cNvSpPr>
          <p:nvPr>
            <p:ph type="sldNum" sz="quarter" idx="12"/>
          </p:nvPr>
        </p:nvSpPr>
        <p:spPr>
          <a:xfrm>
            <a:off x="3257548" y="6126265"/>
            <a:ext cx="521496" cy="365125"/>
          </a:xfrm>
          <a:prstGeom prst="rect">
            <a:avLst/>
          </a:prstGeom>
        </p:spPr>
        <p:txBody>
          <a:bodyPr/>
          <a:lstStyle/>
          <a:p>
            <a:fld id="{054C8753-49EE-4AA4-B7F7-004F2534EA1E}" type="slidenum">
              <a:rPr lang="ru-RU" smtClean="0"/>
              <a:t>‹#›</a:t>
            </a:fld>
            <a:endParaRPr lang="ru-RU" dirty="0"/>
          </a:p>
        </p:txBody>
      </p:sp>
    </p:spTree>
    <p:extLst>
      <p:ext uri="{BB962C8B-B14F-4D97-AF65-F5344CB8AC3E}">
        <p14:creationId xmlns:p14="http://schemas.microsoft.com/office/powerpoint/2010/main" val="238934445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2_Основной">
    <p:spTree>
      <p:nvGrpSpPr>
        <p:cNvPr id="1" name=""/>
        <p:cNvGrpSpPr/>
        <p:nvPr/>
      </p:nvGrpSpPr>
      <p:grpSpPr>
        <a:xfrm>
          <a:off x="0" y="0"/>
          <a:ext cx="0" cy="0"/>
          <a:chOff x="0" y="0"/>
          <a:chExt cx="0" cy="0"/>
        </a:xfrm>
      </p:grpSpPr>
      <p:pic>
        <p:nvPicPr>
          <p:cNvPr id="24" name="Picture 5"/>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7679" y="-19049"/>
            <a:ext cx="9692217" cy="722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Параллелограмм 14"/>
          <p:cNvSpPr>
            <a:spLocks/>
          </p:cNvSpPr>
          <p:nvPr userDrawn="1"/>
        </p:nvSpPr>
        <p:spPr bwMode="auto">
          <a:xfrm>
            <a:off x="11562908" y="6544797"/>
            <a:ext cx="350400" cy="325880"/>
          </a:xfrm>
          <a:prstGeom prst="parallelogram">
            <a:avLst>
              <a:gd name="adj" fmla="val 53250"/>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
        <p:nvSpPr>
          <p:cNvPr id="19" name="Параллелограмм 18"/>
          <p:cNvSpPr/>
          <p:nvPr userDrawn="1"/>
        </p:nvSpPr>
        <p:spPr bwMode="auto">
          <a:xfrm>
            <a:off x="9136868" y="14480"/>
            <a:ext cx="426827" cy="606208"/>
          </a:xfrm>
          <a:prstGeom prst="parallelogram">
            <a:avLst>
              <a:gd name="adj" fmla="val 80500"/>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
        <p:nvSpPr>
          <p:cNvPr id="23" name="Параллелограмм 22"/>
          <p:cNvSpPr>
            <a:spLocks/>
          </p:cNvSpPr>
          <p:nvPr userDrawn="1"/>
        </p:nvSpPr>
        <p:spPr bwMode="auto">
          <a:xfrm>
            <a:off x="9346968" y="44231"/>
            <a:ext cx="385432" cy="367200"/>
          </a:xfrm>
          <a:prstGeom prst="parallelogram">
            <a:avLst>
              <a:gd name="adj" fmla="val 53287"/>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
        <p:nvSpPr>
          <p:cNvPr id="7" name="Text Box 14"/>
          <p:cNvSpPr txBox="1">
            <a:spLocks noChangeArrowheads="1"/>
          </p:cNvSpPr>
          <p:nvPr userDrawn="1"/>
        </p:nvSpPr>
        <p:spPr bwMode="auto">
          <a:xfrm>
            <a:off x="-74083" y="6669361"/>
            <a:ext cx="4978400" cy="276999"/>
          </a:xfrm>
          <a:prstGeom prst="rect">
            <a:avLst/>
          </a:prstGeom>
          <a:noFill/>
          <a:ln>
            <a:noFill/>
          </a:ln>
        </p:spPr>
        <p:txBody>
          <a:bodyPr>
            <a:spAutoFit/>
          </a:bodyPr>
          <a:lstStyle>
            <a:lvl1pPr marL="173038" indent="-173038" eaLnBrk="0" hangingPunct="0">
              <a:defRPr>
                <a:solidFill>
                  <a:schemeClr val="tx1"/>
                </a:solidFill>
                <a:latin typeface="Franklin Gothic Book" pitchFamily="34" charset="0"/>
              </a:defRPr>
            </a:lvl1pPr>
            <a:lvl2pPr marL="742950" indent="-285750" eaLnBrk="0" hangingPunct="0">
              <a:defRPr>
                <a:solidFill>
                  <a:schemeClr val="tx1"/>
                </a:solidFill>
                <a:latin typeface="Franklin Gothic Book" pitchFamily="34" charset="0"/>
              </a:defRPr>
            </a:lvl2pPr>
            <a:lvl3pPr marL="1143000" indent="-228600" eaLnBrk="0" hangingPunct="0">
              <a:defRPr>
                <a:solidFill>
                  <a:schemeClr val="tx1"/>
                </a:solidFill>
                <a:latin typeface="Franklin Gothic Book" pitchFamily="34" charset="0"/>
              </a:defRPr>
            </a:lvl3pPr>
            <a:lvl4pPr marL="1600200" indent="-228600" eaLnBrk="0" hangingPunct="0">
              <a:defRPr>
                <a:solidFill>
                  <a:schemeClr val="tx1"/>
                </a:solidFill>
                <a:latin typeface="Franklin Gothic Book" pitchFamily="34" charset="0"/>
              </a:defRPr>
            </a:lvl4pPr>
            <a:lvl5pPr marL="2057400" indent="-228600" eaLnBrk="0" hangingPunct="0">
              <a:defRPr>
                <a:solidFill>
                  <a:schemeClr val="tx1"/>
                </a:solidFill>
                <a:latin typeface="Franklin Gothic Book" pitchFamily="34" charset="0"/>
              </a:defRPr>
            </a:lvl5pPr>
            <a:lvl6pPr marL="2514600" indent="-228600" eaLnBrk="0" fontAlgn="base" hangingPunct="0">
              <a:spcBef>
                <a:spcPct val="0"/>
              </a:spcBef>
              <a:spcAft>
                <a:spcPct val="0"/>
              </a:spcAft>
              <a:defRPr>
                <a:solidFill>
                  <a:schemeClr val="tx1"/>
                </a:solidFill>
                <a:latin typeface="Franklin Gothic Book" pitchFamily="34" charset="0"/>
              </a:defRPr>
            </a:lvl6pPr>
            <a:lvl7pPr marL="2971800" indent="-228600" eaLnBrk="0" fontAlgn="base" hangingPunct="0">
              <a:spcBef>
                <a:spcPct val="0"/>
              </a:spcBef>
              <a:spcAft>
                <a:spcPct val="0"/>
              </a:spcAft>
              <a:defRPr>
                <a:solidFill>
                  <a:schemeClr val="tx1"/>
                </a:solidFill>
                <a:latin typeface="Franklin Gothic Book" pitchFamily="34" charset="0"/>
              </a:defRPr>
            </a:lvl7pPr>
            <a:lvl8pPr marL="3429000" indent="-228600" eaLnBrk="0" fontAlgn="base" hangingPunct="0">
              <a:spcBef>
                <a:spcPct val="0"/>
              </a:spcBef>
              <a:spcAft>
                <a:spcPct val="0"/>
              </a:spcAft>
              <a:defRPr>
                <a:solidFill>
                  <a:schemeClr val="tx1"/>
                </a:solidFill>
                <a:latin typeface="Franklin Gothic Book" pitchFamily="34" charset="0"/>
              </a:defRPr>
            </a:lvl8pPr>
            <a:lvl9pPr marL="3886200" indent="-228600" eaLnBrk="0" fontAlgn="base" hangingPunct="0">
              <a:spcBef>
                <a:spcPct val="0"/>
              </a:spcBef>
              <a:spcAft>
                <a:spcPct val="0"/>
              </a:spcAft>
              <a:defRPr>
                <a:solidFill>
                  <a:schemeClr val="tx1"/>
                </a:solidFill>
                <a:latin typeface="Franklin Gothic Book" pitchFamily="34" charset="0"/>
              </a:defRPr>
            </a:lvl9pPr>
          </a:lstStyle>
          <a:p>
            <a:pPr eaLnBrk="1" hangingPunct="1">
              <a:spcBef>
                <a:spcPct val="50000"/>
              </a:spcBef>
              <a:defRPr/>
            </a:pPr>
            <a:r>
              <a:rPr lang="ru-RU" sz="1200" dirty="0">
                <a:solidFill>
                  <a:prstClr val="black"/>
                </a:solidFill>
                <a:latin typeface="Calibri" pitchFamily="34" charset="0"/>
                <a:cs typeface="Calibri" pitchFamily="34" charset="0"/>
              </a:rPr>
              <a:t>© Департамент финансов</a:t>
            </a:r>
            <a:endParaRPr lang="en-US" sz="1200" dirty="0">
              <a:solidFill>
                <a:prstClr val="black"/>
              </a:solidFill>
              <a:latin typeface="Calibri" pitchFamily="34" charset="0"/>
              <a:cs typeface="Calibri" pitchFamily="34" charset="0"/>
            </a:endParaRPr>
          </a:p>
        </p:txBody>
      </p:sp>
      <p:sp>
        <p:nvSpPr>
          <p:cNvPr id="9" name="Параллелограмм 8"/>
          <p:cNvSpPr/>
          <p:nvPr userDrawn="1"/>
        </p:nvSpPr>
        <p:spPr bwMode="auto">
          <a:xfrm>
            <a:off x="11623616" y="5894485"/>
            <a:ext cx="667339" cy="1152000"/>
          </a:xfrm>
          <a:prstGeom prst="parallelogram">
            <a:avLst>
              <a:gd name="adj" fmla="val 97137"/>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Tree>
    <p:extLst>
      <p:ext uri="{BB962C8B-B14F-4D97-AF65-F5344CB8AC3E}">
        <p14:creationId xmlns:p14="http://schemas.microsoft.com/office/powerpoint/2010/main" val="336086481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Содержание">
    <p:spTree>
      <p:nvGrpSpPr>
        <p:cNvPr id="1" name=""/>
        <p:cNvGrpSpPr/>
        <p:nvPr/>
      </p:nvGrpSpPr>
      <p:grpSpPr>
        <a:xfrm>
          <a:off x="0" y="0"/>
          <a:ext cx="0" cy="0"/>
          <a:chOff x="0" y="0"/>
          <a:chExt cx="0" cy="0"/>
        </a:xfrm>
      </p:grpSpPr>
      <p:sp>
        <p:nvSpPr>
          <p:cNvPr id="23" name="Параллелограмм 22"/>
          <p:cNvSpPr>
            <a:spLocks/>
          </p:cNvSpPr>
          <p:nvPr userDrawn="1"/>
        </p:nvSpPr>
        <p:spPr bwMode="auto">
          <a:xfrm>
            <a:off x="239392" y="-27384"/>
            <a:ext cx="384000" cy="367200"/>
          </a:xfrm>
          <a:prstGeom prst="parallelogram">
            <a:avLst>
              <a:gd name="adj" fmla="val 53287"/>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
        <p:nvSpPr>
          <p:cNvPr id="19" name="Параллелограмм 18"/>
          <p:cNvSpPr/>
          <p:nvPr userDrawn="1"/>
        </p:nvSpPr>
        <p:spPr bwMode="auto">
          <a:xfrm>
            <a:off x="71392" y="44624"/>
            <a:ext cx="336000" cy="468000"/>
          </a:xfrm>
          <a:prstGeom prst="parallelogram">
            <a:avLst>
              <a:gd name="adj" fmla="val 77525"/>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
        <p:nvSpPr>
          <p:cNvPr id="6" name="Параллелограмм 5"/>
          <p:cNvSpPr>
            <a:spLocks/>
          </p:cNvSpPr>
          <p:nvPr userDrawn="1"/>
        </p:nvSpPr>
        <p:spPr bwMode="auto">
          <a:xfrm>
            <a:off x="11562908" y="6544797"/>
            <a:ext cx="350400" cy="325880"/>
          </a:xfrm>
          <a:prstGeom prst="parallelogram">
            <a:avLst>
              <a:gd name="adj" fmla="val 53250"/>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
        <p:nvSpPr>
          <p:cNvPr id="7" name="Параллелограмм 6"/>
          <p:cNvSpPr/>
          <p:nvPr userDrawn="1"/>
        </p:nvSpPr>
        <p:spPr bwMode="auto">
          <a:xfrm>
            <a:off x="11623616" y="5894485"/>
            <a:ext cx="667339" cy="1152000"/>
          </a:xfrm>
          <a:prstGeom prst="parallelogram">
            <a:avLst>
              <a:gd name="adj" fmla="val 97137"/>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Tree>
    <p:extLst>
      <p:ext uri="{BB962C8B-B14F-4D97-AF65-F5344CB8AC3E}">
        <p14:creationId xmlns:p14="http://schemas.microsoft.com/office/powerpoint/2010/main" val="302020385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userDrawn="1">
  <p:cSld name="CZAR2014_Обычный слайд">
    <p:spTree>
      <p:nvGrpSpPr>
        <p:cNvPr id="1" name=""/>
        <p:cNvGrpSpPr/>
        <p:nvPr/>
      </p:nvGrpSpPr>
      <p:grpSpPr>
        <a:xfrm>
          <a:off x="0" y="0"/>
          <a:ext cx="0" cy="0"/>
          <a:chOff x="0" y="0"/>
          <a:chExt cx="0" cy="0"/>
        </a:xfrm>
      </p:grpSpPr>
      <p:pic>
        <p:nvPicPr>
          <p:cNvPr id="24" name="Picture 5"/>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7507" y="-19049"/>
            <a:ext cx="9692217" cy="722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 name="Параллелограмм 18"/>
          <p:cNvSpPr/>
          <p:nvPr userDrawn="1"/>
        </p:nvSpPr>
        <p:spPr bwMode="auto">
          <a:xfrm>
            <a:off x="9136868" y="14480"/>
            <a:ext cx="426827" cy="606208"/>
          </a:xfrm>
          <a:prstGeom prst="parallelogram">
            <a:avLst>
              <a:gd name="adj" fmla="val 80500"/>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algn="ctr" defTabSz="1038739" fontAlgn="auto">
              <a:spcBef>
                <a:spcPts val="0"/>
              </a:spcBef>
              <a:spcAft>
                <a:spcPts val="0"/>
              </a:spcAft>
            </a:pPr>
            <a:endParaRPr lang="ru-RU" sz="2000" kern="0" dirty="0">
              <a:solidFill>
                <a:srgbClr val="FFFFFF"/>
              </a:solidFill>
              <a:latin typeface="Fedra Sans Pro Book"/>
            </a:endParaRPr>
          </a:p>
        </p:txBody>
      </p:sp>
      <p:sp>
        <p:nvSpPr>
          <p:cNvPr id="23" name="Параллелограмм 22"/>
          <p:cNvSpPr>
            <a:spLocks/>
          </p:cNvSpPr>
          <p:nvPr userDrawn="1"/>
        </p:nvSpPr>
        <p:spPr bwMode="auto">
          <a:xfrm>
            <a:off x="9346968" y="44231"/>
            <a:ext cx="385432" cy="367200"/>
          </a:xfrm>
          <a:prstGeom prst="parallelogram">
            <a:avLst>
              <a:gd name="adj" fmla="val 53287"/>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algn="ctr" defTabSz="1038739" fontAlgn="auto">
              <a:spcBef>
                <a:spcPts val="0"/>
              </a:spcBef>
              <a:spcAft>
                <a:spcPts val="0"/>
              </a:spcAft>
            </a:pPr>
            <a:endParaRPr lang="ru-RU" sz="2000" kern="0" dirty="0">
              <a:solidFill>
                <a:srgbClr val="FFFFFF"/>
              </a:solidFill>
              <a:latin typeface="Fedra Sans Pro Book"/>
            </a:endParaRPr>
          </a:p>
        </p:txBody>
      </p:sp>
      <p:sp>
        <p:nvSpPr>
          <p:cNvPr id="7" name="Text Box 14"/>
          <p:cNvSpPr txBox="1">
            <a:spLocks noChangeArrowheads="1"/>
          </p:cNvSpPr>
          <p:nvPr userDrawn="1"/>
        </p:nvSpPr>
        <p:spPr bwMode="auto">
          <a:xfrm>
            <a:off x="-74083" y="6669361"/>
            <a:ext cx="4978400" cy="276999"/>
          </a:xfrm>
          <a:prstGeom prst="rect">
            <a:avLst/>
          </a:prstGeom>
          <a:noFill/>
          <a:ln>
            <a:noFill/>
          </a:ln>
        </p:spPr>
        <p:txBody>
          <a:bodyPr>
            <a:spAutoFit/>
          </a:bodyPr>
          <a:lstStyle>
            <a:lvl1pPr marL="173038" indent="-173038" eaLnBrk="0" hangingPunct="0">
              <a:defRPr>
                <a:solidFill>
                  <a:schemeClr val="tx1"/>
                </a:solidFill>
                <a:latin typeface="Franklin Gothic Book" pitchFamily="34" charset="0"/>
              </a:defRPr>
            </a:lvl1pPr>
            <a:lvl2pPr marL="742950" indent="-285750" eaLnBrk="0" hangingPunct="0">
              <a:defRPr>
                <a:solidFill>
                  <a:schemeClr val="tx1"/>
                </a:solidFill>
                <a:latin typeface="Franklin Gothic Book" pitchFamily="34" charset="0"/>
              </a:defRPr>
            </a:lvl2pPr>
            <a:lvl3pPr marL="1143000" indent="-228600" eaLnBrk="0" hangingPunct="0">
              <a:defRPr>
                <a:solidFill>
                  <a:schemeClr val="tx1"/>
                </a:solidFill>
                <a:latin typeface="Franklin Gothic Book" pitchFamily="34" charset="0"/>
              </a:defRPr>
            </a:lvl3pPr>
            <a:lvl4pPr marL="1600200" indent="-228600" eaLnBrk="0" hangingPunct="0">
              <a:defRPr>
                <a:solidFill>
                  <a:schemeClr val="tx1"/>
                </a:solidFill>
                <a:latin typeface="Franklin Gothic Book" pitchFamily="34" charset="0"/>
              </a:defRPr>
            </a:lvl4pPr>
            <a:lvl5pPr marL="2057400" indent="-228600" eaLnBrk="0" hangingPunct="0">
              <a:defRPr>
                <a:solidFill>
                  <a:schemeClr val="tx1"/>
                </a:solidFill>
                <a:latin typeface="Franklin Gothic Book" pitchFamily="34" charset="0"/>
              </a:defRPr>
            </a:lvl5pPr>
            <a:lvl6pPr marL="2514600" indent="-228600" eaLnBrk="0" fontAlgn="base" hangingPunct="0">
              <a:spcBef>
                <a:spcPct val="0"/>
              </a:spcBef>
              <a:spcAft>
                <a:spcPct val="0"/>
              </a:spcAft>
              <a:defRPr>
                <a:solidFill>
                  <a:schemeClr val="tx1"/>
                </a:solidFill>
                <a:latin typeface="Franklin Gothic Book" pitchFamily="34" charset="0"/>
              </a:defRPr>
            </a:lvl6pPr>
            <a:lvl7pPr marL="2971800" indent="-228600" eaLnBrk="0" fontAlgn="base" hangingPunct="0">
              <a:spcBef>
                <a:spcPct val="0"/>
              </a:spcBef>
              <a:spcAft>
                <a:spcPct val="0"/>
              </a:spcAft>
              <a:defRPr>
                <a:solidFill>
                  <a:schemeClr val="tx1"/>
                </a:solidFill>
                <a:latin typeface="Franklin Gothic Book" pitchFamily="34" charset="0"/>
              </a:defRPr>
            </a:lvl7pPr>
            <a:lvl8pPr marL="3429000" indent="-228600" eaLnBrk="0" fontAlgn="base" hangingPunct="0">
              <a:spcBef>
                <a:spcPct val="0"/>
              </a:spcBef>
              <a:spcAft>
                <a:spcPct val="0"/>
              </a:spcAft>
              <a:defRPr>
                <a:solidFill>
                  <a:schemeClr val="tx1"/>
                </a:solidFill>
                <a:latin typeface="Franklin Gothic Book" pitchFamily="34" charset="0"/>
              </a:defRPr>
            </a:lvl8pPr>
            <a:lvl9pPr marL="3886200" indent="-228600" eaLnBrk="0" fontAlgn="base" hangingPunct="0">
              <a:spcBef>
                <a:spcPct val="0"/>
              </a:spcBef>
              <a:spcAft>
                <a:spcPct val="0"/>
              </a:spcAft>
              <a:defRPr>
                <a:solidFill>
                  <a:schemeClr val="tx1"/>
                </a:solidFill>
                <a:latin typeface="Franklin Gothic Book" pitchFamily="34" charset="0"/>
              </a:defRPr>
            </a:lvl9pPr>
          </a:lstStyle>
          <a:p>
            <a:pPr eaLnBrk="1" fontAlgn="auto" hangingPunct="1">
              <a:spcBef>
                <a:spcPct val="50000"/>
              </a:spcBef>
              <a:spcAft>
                <a:spcPts val="0"/>
              </a:spcAft>
              <a:defRPr/>
            </a:pPr>
            <a:r>
              <a:rPr lang="ru-RU" sz="1200" dirty="0">
                <a:solidFill>
                  <a:prstClr val="white">
                    <a:lumMod val="50000"/>
                  </a:prstClr>
                </a:solidFill>
                <a:latin typeface="Calibri" pitchFamily="34" charset="0"/>
                <a:cs typeface="Calibri" pitchFamily="34" charset="0"/>
              </a:rPr>
              <a:t>Казначейство</a:t>
            </a:r>
            <a:endParaRPr lang="en-US" sz="1200" dirty="0">
              <a:solidFill>
                <a:prstClr val="white">
                  <a:lumMod val="50000"/>
                </a:prstClr>
              </a:solidFill>
              <a:latin typeface="Calibri" pitchFamily="34" charset="0"/>
              <a:cs typeface="Calibri" pitchFamily="34" charset="0"/>
            </a:endParaRPr>
          </a:p>
        </p:txBody>
      </p:sp>
      <p:sp>
        <p:nvSpPr>
          <p:cNvPr id="13" name="Параллелограмм 12"/>
          <p:cNvSpPr>
            <a:spLocks/>
          </p:cNvSpPr>
          <p:nvPr userDrawn="1"/>
        </p:nvSpPr>
        <p:spPr bwMode="auto">
          <a:xfrm>
            <a:off x="11519228" y="6544797"/>
            <a:ext cx="350400" cy="325880"/>
          </a:xfrm>
          <a:prstGeom prst="parallelogram">
            <a:avLst>
              <a:gd name="adj" fmla="val 55062"/>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algn="ctr" defTabSz="1038739" fontAlgn="auto">
              <a:spcBef>
                <a:spcPts val="0"/>
              </a:spcBef>
              <a:spcAft>
                <a:spcPts val="0"/>
              </a:spcAft>
            </a:pPr>
            <a:endParaRPr lang="ru-RU" sz="2000" kern="0" dirty="0">
              <a:solidFill>
                <a:srgbClr val="FFFFFF"/>
              </a:solidFill>
              <a:latin typeface="Fedra Sans Pro Book"/>
            </a:endParaRPr>
          </a:p>
        </p:txBody>
      </p:sp>
      <p:sp>
        <p:nvSpPr>
          <p:cNvPr id="14" name="Параллелограмм 13"/>
          <p:cNvSpPr/>
          <p:nvPr userDrawn="1"/>
        </p:nvSpPr>
        <p:spPr bwMode="auto">
          <a:xfrm>
            <a:off x="11649887" y="6453615"/>
            <a:ext cx="308620" cy="366563"/>
          </a:xfrm>
          <a:prstGeom prst="parallelogram">
            <a:avLst>
              <a:gd name="adj" fmla="val 70730"/>
            </a:avLst>
          </a:prstGeom>
          <a:gradFill flip="none" rotWithShape="1">
            <a:gsLst>
              <a:gs pos="0">
                <a:srgbClr val="AB331F"/>
              </a:gs>
              <a:gs pos="100000">
                <a:srgbClr val="DA4A32"/>
              </a:gs>
            </a:gsLst>
            <a:lin ang="0" scaled="1"/>
            <a:tileRect/>
          </a:gradFill>
          <a:ln w="9525" cap="flat" cmpd="sng" algn="ctr">
            <a:noFill/>
            <a:prstDash val="solid"/>
          </a:ln>
          <a:effectLst>
            <a:outerShdw blurRad="38100" dist="38100" dir="2700000" sx="87000" sy="87000" algn="tl" rotWithShape="0">
              <a:prstClr val="black">
                <a:alpha val="45000"/>
              </a:prstClr>
            </a:outerShdw>
          </a:effectLst>
        </p:spPr>
        <p:txBody>
          <a:bodyPr lIns="121893" tIns="60945" rIns="121893" bIns="60945" rtlCol="0" anchor="ctr"/>
          <a:lstStyle/>
          <a:p>
            <a:pPr algn="ctr" defTabSz="1038739" fontAlgn="auto">
              <a:spcBef>
                <a:spcPts val="0"/>
              </a:spcBef>
              <a:spcAft>
                <a:spcPts val="0"/>
              </a:spcAft>
            </a:pPr>
            <a:endParaRPr lang="ru-RU" sz="2000" kern="0" dirty="0">
              <a:solidFill>
                <a:srgbClr val="FFFFFF"/>
              </a:solidFill>
              <a:latin typeface="Fedra Sans Pro Book"/>
            </a:endParaRPr>
          </a:p>
        </p:txBody>
      </p:sp>
      <p:sp>
        <p:nvSpPr>
          <p:cNvPr id="10" name="Заголовок 1"/>
          <p:cNvSpPr>
            <a:spLocks noGrp="1"/>
          </p:cNvSpPr>
          <p:nvPr>
            <p:ph type="title"/>
          </p:nvPr>
        </p:nvSpPr>
        <p:spPr>
          <a:xfrm>
            <a:off x="239184" y="0"/>
            <a:ext cx="11343216" cy="620688"/>
          </a:xfrm>
          <a:prstGeom prst="rect">
            <a:avLst/>
          </a:prstGeom>
        </p:spPr>
        <p:txBody>
          <a:bodyPr lIns="108000" tIns="0" rIns="0" bIns="0" anchor="ctr"/>
          <a:lstStyle>
            <a:lvl1pPr>
              <a:defRPr>
                <a:solidFill>
                  <a:srgbClr val="3F3F3F"/>
                </a:solidFill>
              </a:defRPr>
            </a:lvl1pPr>
          </a:lstStyle>
          <a:p>
            <a:r>
              <a:rPr lang="ru-RU" dirty="0"/>
              <a:t>Образец заголовка</a:t>
            </a:r>
          </a:p>
        </p:txBody>
      </p:sp>
    </p:spTree>
    <p:extLst>
      <p:ext uri="{BB962C8B-B14F-4D97-AF65-F5344CB8AC3E}">
        <p14:creationId xmlns:p14="http://schemas.microsoft.com/office/powerpoint/2010/main" val="89879074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userDrawn="1">
  <p:cSld name="1_Пользовательский макет">
    <p:spTree>
      <p:nvGrpSpPr>
        <p:cNvPr id="1" name=""/>
        <p:cNvGrpSpPr/>
        <p:nvPr/>
      </p:nvGrpSpPr>
      <p:grpSpPr>
        <a:xfrm>
          <a:off x="0" y="0"/>
          <a:ext cx="0" cy="0"/>
          <a:chOff x="0" y="0"/>
          <a:chExt cx="0" cy="0"/>
        </a:xfrm>
      </p:grpSpPr>
      <p:graphicFrame>
        <p:nvGraphicFramePr>
          <p:cNvPr id="5" name="Объект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4" imgW="471" imgH="472" progId="TCLayout.ActiveDocument.1">
                  <p:embed/>
                </p:oleObj>
              </mc:Choice>
              <mc:Fallback>
                <p:oleObj name="Слайд think-cell" r:id="rId4" imgW="471" imgH="472" progId="TCLayout.ActiveDocument.1">
                  <p:embed/>
                  <p:pic>
                    <p:nvPicPr>
                      <p:cNvPr id="5" name="Объект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Прямоугольник 3" hidden="1"/>
          <p:cNvSpPr/>
          <p:nvPr userDrawn="1">
            <p:custDataLst>
              <p:tags r:id="rId2"/>
            </p:custDataLst>
          </p:nvPr>
        </p:nvSpPr>
        <p:spPr>
          <a:xfrm>
            <a:off x="0" y="0"/>
            <a:ext cx="158750" cy="158750"/>
          </a:xfrm>
          <a:prstGeom prst="rect">
            <a:avLst/>
          </a:prstGeom>
          <a:solidFill>
            <a:schemeClr val="accent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ru-RU" sz="2000" b="0" i="0" baseline="0" dirty="0">
              <a:latin typeface="Segoe UI" panose="020B0502040204020203" pitchFamily="34" charset="0"/>
              <a:ea typeface="+mj-ea"/>
              <a:cs typeface="+mj-cs"/>
              <a:sym typeface="Segoe UI" panose="020B0502040204020203" pitchFamily="34" charset="0"/>
            </a:endParaRPr>
          </a:p>
        </p:txBody>
      </p:sp>
      <p:sp>
        <p:nvSpPr>
          <p:cNvPr id="2" name="Заголовок 1"/>
          <p:cNvSpPr>
            <a:spLocks noGrp="1"/>
          </p:cNvSpPr>
          <p:nvPr>
            <p:ph type="title"/>
          </p:nvPr>
        </p:nvSpPr>
        <p:spPr>
          <a:xfrm>
            <a:off x="391265" y="192075"/>
            <a:ext cx="10555873" cy="276999"/>
          </a:xfrm>
        </p:spPr>
        <p:txBody>
          <a:bodyPr/>
          <a:lstStyle>
            <a:lvl1pPr>
              <a:defRPr sz="2000"/>
            </a:lvl1pPr>
          </a:lstStyle>
          <a:p>
            <a:r>
              <a:rPr lang="ru-RU"/>
              <a:t>Образец заголовка</a:t>
            </a:r>
            <a:endParaRPr lang="ru-RU" dirty="0"/>
          </a:p>
        </p:txBody>
      </p:sp>
      <p:sp>
        <p:nvSpPr>
          <p:cNvPr id="3" name="Номер слайда 2"/>
          <p:cNvSpPr>
            <a:spLocks noGrp="1"/>
          </p:cNvSpPr>
          <p:nvPr>
            <p:ph type="sldNum" sz="quarter" idx="10"/>
          </p:nvPr>
        </p:nvSpPr>
        <p:spPr>
          <a:xfrm>
            <a:off x="11810470" y="6576020"/>
            <a:ext cx="589856" cy="365125"/>
          </a:xfrm>
          <a:prstGeom prst="rect">
            <a:avLst/>
          </a:prstGeom>
        </p:spPr>
        <p:txBody>
          <a:bodyPr/>
          <a:lstStyle/>
          <a:p>
            <a:fld id="{B19B0651-EE4F-4900-A07F-96A6BFA9D0F0}" type="slidenum">
              <a:rPr lang="ru-RU" smtClean="0">
                <a:solidFill>
                  <a:prstClr val="black">
                    <a:tint val="75000"/>
                  </a:prstClr>
                </a:solidFill>
              </a:rPr>
              <a:pPr/>
              <a:t>‹#›</a:t>
            </a:fld>
            <a:endParaRPr lang="ru-RU" dirty="0">
              <a:solidFill>
                <a:prstClr val="black">
                  <a:tint val="75000"/>
                </a:prstClr>
              </a:solidFill>
            </a:endParaRPr>
          </a:p>
        </p:txBody>
      </p:sp>
      <p:pic>
        <p:nvPicPr>
          <p:cNvPr id="2167" name="Рисунок 2166" descr="http://277CFEF32177A4B1AA838F1AC8627F3C.dms.sberbank.ru/277CFEF32177A4B1AA838F1AC8627F3C-D721484550977C95F98CF7A7709B105F-B058A5EA472CB7D47202A9B873626704/1.png"/>
          <p:cNvPicPr>
            <a:picLocks/>
          </p:cNvPicPr>
          <p:nvPr userDrawn="1"/>
        </p:nvPicPr>
        <p:blipFill>
          <a:blip r:link="rId6"/>
          <a:stretch>
            <a:fillRect/>
          </a:stretch>
        </p:blipFill>
        <p:spPr>
          <a:xfrm>
            <a:off x="0" y="0"/>
            <a:ext cx="1588" cy="1588"/>
          </a:xfrm>
          <a:prstGeom prst="rect">
            <a:avLst/>
          </a:prstGeom>
        </p:spPr>
      </p:pic>
      <p:pic>
        <p:nvPicPr>
          <p:cNvPr id="2168" name="Рисунок 2167" descr="http://277CFEF32177A4B1AA838F1AC8627F3C.dms.sberbank.ru/277CFEF32177A4B1AA838F1AC8627F3C-D721484550977C95F98CF7A7709B105F-B058A5EA472CB7D47202A9B873626704/1.png"/>
          <p:cNvPicPr>
            <a:picLocks/>
          </p:cNvPicPr>
          <p:nvPr userDrawn="1"/>
        </p:nvPicPr>
        <p:blipFill>
          <a:blip r:link="rId6"/>
          <a:stretch>
            <a:fillRect/>
          </a:stretch>
        </p:blipFill>
        <p:spPr>
          <a:xfrm>
            <a:off x="0" y="0"/>
            <a:ext cx="1588" cy="1588"/>
          </a:xfrm>
          <a:prstGeom prst="rect">
            <a:avLst/>
          </a:prstGeom>
        </p:spPr>
      </p:pic>
      <p:pic>
        <p:nvPicPr>
          <p:cNvPr id="2169" name="Рисунок 2168" descr="http://277CFEF32177A4B1AA838F1AC8627F3C.dms.sberbank.ru/277CFEF32177A4B1AA838F1AC8627F3C-D721484550977C95F98CF7A7709B105F-B058A5EA472CB7D47202A9B873626704/1.png"/>
          <p:cNvPicPr>
            <a:picLocks/>
          </p:cNvPicPr>
          <p:nvPr userDrawn="1"/>
        </p:nvPicPr>
        <p:blipFill>
          <a:blip r:link="rId6"/>
          <a:stretch>
            <a:fillRect/>
          </a:stretch>
        </p:blipFill>
        <p:spPr>
          <a:xfrm>
            <a:off x="0" y="0"/>
            <a:ext cx="1588" cy="1588"/>
          </a:xfrm>
          <a:prstGeom prst="rect">
            <a:avLst/>
          </a:prstGeom>
        </p:spPr>
      </p:pic>
      <p:pic>
        <p:nvPicPr>
          <p:cNvPr id="2170" name="Рисунок 2169" descr="http://277CFEF32177A4B1AA838F1AC8627F3C.dms.sberbank.ru/277CFEF32177A4B1AA838F1AC8627F3C-D721484550977C95F98CF7A7709B105F-B058A5EA472CB7D47202A9B873626704/1.png"/>
          <p:cNvPicPr>
            <a:picLocks/>
          </p:cNvPicPr>
          <p:nvPr userDrawn="1"/>
        </p:nvPicPr>
        <p:blipFill>
          <a:blip r:link="rId6"/>
          <a:stretch>
            <a:fillRect/>
          </a:stretch>
        </p:blipFill>
        <p:spPr>
          <a:xfrm>
            <a:off x="0" y="0"/>
            <a:ext cx="1588" cy="1588"/>
          </a:xfrm>
          <a:prstGeom prst="rect">
            <a:avLst/>
          </a:prstGeom>
        </p:spPr>
      </p:pic>
      <p:pic>
        <p:nvPicPr>
          <p:cNvPr id="2171" name="Рисунок 2170" descr="http://277CFEF32177A4B1AA838F1AC8627F3C.dms.sberbank.ru/277CFEF32177A4B1AA838F1AC8627F3C-D721484550977C95F98CF7A7709B105F-B058A5EA472CB7D47202A9B873626704/1.png"/>
          <p:cNvPicPr>
            <a:picLocks/>
          </p:cNvPicPr>
          <p:nvPr userDrawn="1"/>
        </p:nvPicPr>
        <p:blipFill>
          <a:blip r:link="rId6"/>
          <a:stretch>
            <a:fillRect/>
          </a:stretch>
        </p:blipFill>
        <p:spPr>
          <a:xfrm>
            <a:off x="0" y="0"/>
            <a:ext cx="1588" cy="1588"/>
          </a:xfrm>
          <a:prstGeom prst="rect">
            <a:avLst/>
          </a:prstGeom>
        </p:spPr>
      </p:pic>
      <p:pic>
        <p:nvPicPr>
          <p:cNvPr id="2172" name="Рисунок 2171" descr="http://277CFEF32177A4B1AA838F1AC8627F3C.dms.sberbank.ru/277CFEF32177A4B1AA838F1AC8627F3C-D721484550977C95F98CF7A7709B105F-B058A5EA472CB7D47202A9B873626704/1.png"/>
          <p:cNvPicPr>
            <a:picLocks/>
          </p:cNvPicPr>
          <p:nvPr userDrawn="1"/>
        </p:nvPicPr>
        <p:blipFill>
          <a:blip r:link="rId6"/>
          <a:stretch>
            <a:fillRect/>
          </a:stretch>
        </p:blipFill>
        <p:spPr>
          <a:xfrm>
            <a:off x="0" y="0"/>
            <a:ext cx="1588" cy="1588"/>
          </a:xfrm>
          <a:prstGeom prst="rect">
            <a:avLst/>
          </a:prstGeom>
        </p:spPr>
      </p:pic>
      <p:pic>
        <p:nvPicPr>
          <p:cNvPr id="2173" name="Рисунок 2172" descr="http://277CFEF32177A4B1AA838F1AC8627F3C.dms.sberbank.ru/277CFEF32177A4B1AA838F1AC8627F3C-D721484550977C95F98CF7A7709B105F-B058A5EA472CB7D47202A9B873626704/1.png"/>
          <p:cNvPicPr>
            <a:picLocks/>
          </p:cNvPicPr>
          <p:nvPr userDrawn="1"/>
        </p:nvPicPr>
        <p:blipFill>
          <a:blip r:link="rId6"/>
          <a:stretch>
            <a:fillRect/>
          </a:stretch>
        </p:blipFill>
        <p:spPr>
          <a:xfrm>
            <a:off x="0" y="0"/>
            <a:ext cx="1588" cy="1588"/>
          </a:xfrm>
          <a:prstGeom prst="rect">
            <a:avLst/>
          </a:prstGeom>
        </p:spPr>
      </p:pic>
      <p:pic>
        <p:nvPicPr>
          <p:cNvPr id="2174" name="Рисунок 2173" descr="http://277CFEF32177A4B1AA838F1AC8627F3C.dms.sberbank.ru/277CFEF32177A4B1AA838F1AC8627F3C-D721484550977C95F98CF7A7709B105F-B058A5EA472CB7D47202A9B873626704/1.png"/>
          <p:cNvPicPr>
            <a:picLocks/>
          </p:cNvPicPr>
          <p:nvPr userDrawn="1"/>
        </p:nvPicPr>
        <p:blipFill>
          <a:blip r:link="rId6"/>
          <a:stretch>
            <a:fillRect/>
          </a:stretch>
        </p:blipFill>
        <p:spPr>
          <a:xfrm>
            <a:off x="0" y="0"/>
            <a:ext cx="1588" cy="1588"/>
          </a:xfrm>
          <a:prstGeom prst="rect">
            <a:avLst/>
          </a:prstGeom>
        </p:spPr>
      </p:pic>
      <p:pic>
        <p:nvPicPr>
          <p:cNvPr id="2175" name="Рисунок 2174" descr="http://277CFEF32177A4B1AA838F1AC8627F3C.dms.sberbank.ru/277CFEF32177A4B1AA838F1AC8627F3C-D721484550977C95F98CF7A7709B105F-B058A5EA472CB7D47202A9B873626704/1.png"/>
          <p:cNvPicPr>
            <a:picLocks/>
          </p:cNvPicPr>
          <p:nvPr userDrawn="1"/>
        </p:nvPicPr>
        <p:blipFill>
          <a:blip r:link="rId6"/>
          <a:stretch>
            <a:fillRect/>
          </a:stretch>
        </p:blipFill>
        <p:spPr>
          <a:xfrm>
            <a:off x="0" y="0"/>
            <a:ext cx="1588" cy="1588"/>
          </a:xfrm>
          <a:prstGeom prst="rect">
            <a:avLst/>
          </a:prstGeom>
        </p:spPr>
      </p:pic>
      <p:pic>
        <p:nvPicPr>
          <p:cNvPr id="2176" name="Рисунок 2175" descr="http://277CFEF32177A4B1AA838F1AC8627F3C.dms.sberbank.ru/277CFEF32177A4B1AA838F1AC8627F3C-D721484550977C95F98CF7A7709B105F-B058A5EA472CB7D47202A9B873626704/1.png"/>
          <p:cNvPicPr>
            <a:picLocks/>
          </p:cNvPicPr>
          <p:nvPr userDrawn="1"/>
        </p:nvPicPr>
        <p:blipFill>
          <a:blip r:link="rId6"/>
          <a:stretch>
            <a:fillRect/>
          </a:stretch>
        </p:blipFill>
        <p:spPr>
          <a:xfrm>
            <a:off x="0" y="0"/>
            <a:ext cx="1588" cy="1588"/>
          </a:xfrm>
          <a:prstGeom prst="rect">
            <a:avLst/>
          </a:prstGeom>
        </p:spPr>
      </p:pic>
      <p:pic>
        <p:nvPicPr>
          <p:cNvPr id="2177" name="Рисунок 2176" descr="http://277CFEF32177A4B1AA838F1AC8627F3C.dms.sberbank.ru/277CFEF32177A4B1AA838F1AC8627F3C-D721484550977C95F98CF7A7709B105F-B058A5EA472CB7D47202A9B873626704/1.png"/>
          <p:cNvPicPr>
            <a:picLocks/>
          </p:cNvPicPr>
          <p:nvPr userDrawn="1"/>
        </p:nvPicPr>
        <p:blipFill>
          <a:blip r:link="rId6"/>
          <a:stretch>
            <a:fillRect/>
          </a:stretch>
        </p:blipFill>
        <p:spPr>
          <a:xfrm>
            <a:off x="0" y="0"/>
            <a:ext cx="1588" cy="1588"/>
          </a:xfrm>
          <a:prstGeom prst="rect">
            <a:avLst/>
          </a:prstGeom>
        </p:spPr>
      </p:pic>
      <p:pic>
        <p:nvPicPr>
          <p:cNvPr id="2178" name="Рисунок 2177" descr="http://277CFEF32177A4B1AA838F1AC8627F3C.dms.sberbank.ru/277CFEF32177A4B1AA838F1AC8627F3C-D721484550977C95F98CF7A7709B105F-B058A5EA472CB7D47202A9B873626704/1.png"/>
          <p:cNvPicPr>
            <a:picLocks/>
          </p:cNvPicPr>
          <p:nvPr userDrawn="1"/>
        </p:nvPicPr>
        <p:blipFill>
          <a:blip r:link="rId6"/>
          <a:stretch>
            <a:fillRect/>
          </a:stretch>
        </p:blipFill>
        <p:spPr>
          <a:xfrm>
            <a:off x="0" y="0"/>
            <a:ext cx="1588" cy="1588"/>
          </a:xfrm>
          <a:prstGeom prst="rect">
            <a:avLst/>
          </a:prstGeom>
        </p:spPr>
      </p:pic>
    </p:spTree>
    <p:extLst>
      <p:ext uri="{BB962C8B-B14F-4D97-AF65-F5344CB8AC3E}">
        <p14:creationId xmlns:p14="http://schemas.microsoft.com/office/powerpoint/2010/main" val="341969076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Заголовок и объект">
    <p:spTree>
      <p:nvGrpSpPr>
        <p:cNvPr id="1" name=""/>
        <p:cNvGrpSpPr/>
        <p:nvPr/>
      </p:nvGrpSpPr>
      <p:grpSpPr>
        <a:xfrm>
          <a:off x="0" y="0"/>
          <a:ext cx="0" cy="0"/>
          <a:chOff x="0" y="0"/>
          <a:chExt cx="0" cy="0"/>
        </a:xfrm>
      </p:grpSpPr>
      <p:sp>
        <p:nvSpPr>
          <p:cNvPr id="6" name="Номер слайда 5">
            <a:extLst>
              <a:ext uri="{FF2B5EF4-FFF2-40B4-BE49-F238E27FC236}">
                <a16:creationId xmlns:a16="http://schemas.microsoft.com/office/drawing/2014/main" id="{07C9C99F-1874-4DEC-9199-237D97772B1B}"/>
              </a:ext>
            </a:extLst>
          </p:cNvPr>
          <p:cNvSpPr>
            <a:spLocks noGrp="1"/>
          </p:cNvSpPr>
          <p:nvPr>
            <p:ph type="sldNum" sz="quarter" idx="12"/>
          </p:nvPr>
        </p:nvSpPr>
        <p:spPr>
          <a:xfrm>
            <a:off x="3257548" y="6126265"/>
            <a:ext cx="521496" cy="365125"/>
          </a:xfrm>
          <a:prstGeom prst="rect">
            <a:avLst/>
          </a:prstGeom>
        </p:spPr>
        <p:txBody>
          <a:bodyPr/>
          <a:lstStyle/>
          <a:p>
            <a:fld id="{054C8753-49EE-4AA4-B7F7-004F2534EA1E}" type="slidenum">
              <a:rPr lang="ru-RU" smtClean="0"/>
              <a:pPr/>
              <a:t>‹#›</a:t>
            </a:fld>
            <a:endParaRPr lang="ru-RU" dirty="0"/>
          </a:p>
        </p:txBody>
      </p:sp>
      <p:pic>
        <p:nvPicPr>
          <p:cNvPr id="4" name="Рисунок 3" descr="http://93A7C4B339CCDD211E158032049A3A49.dms.sberbank.ru/93A7C4B339CCDD211E158032049A3A49-048609E64F524779FACC06A290525D57-028113238EC6D8AC5E862ACF66077798/1.png"/>
          <p:cNvPicPr>
            <a:picLocks/>
          </p:cNvPicPr>
          <p:nvPr userDrawn="1"/>
        </p:nvPicPr>
        <p:blipFill>
          <a:blip r:link="rId2"/>
          <a:stretch>
            <a:fillRect/>
          </a:stretch>
        </p:blipFill>
        <p:spPr>
          <a:xfrm>
            <a:off x="0" y="0"/>
            <a:ext cx="1588" cy="1588"/>
          </a:xfrm>
          <a:prstGeom prst="rect">
            <a:avLst/>
          </a:prstGeom>
        </p:spPr>
      </p:pic>
      <p:pic>
        <p:nvPicPr>
          <p:cNvPr id="5" name="Рисунок 4" descr="http://93A7C4B339CCDD211E158032049A3A49.dms.sberbank.ru/93A7C4B339CCDD211E158032049A3A49-048609E64F524779FACC06A290525D57-028113238EC6D8AC5E862ACF66077798/1.png"/>
          <p:cNvPicPr>
            <a:picLocks/>
          </p:cNvPicPr>
          <p:nvPr userDrawn="1"/>
        </p:nvPicPr>
        <p:blipFill>
          <a:blip r:link="rId2"/>
          <a:stretch>
            <a:fillRect/>
          </a:stretch>
        </p:blipFill>
        <p:spPr>
          <a:xfrm>
            <a:off x="0" y="0"/>
            <a:ext cx="1588" cy="1588"/>
          </a:xfrm>
          <a:prstGeom prst="rect">
            <a:avLst/>
          </a:prstGeom>
        </p:spPr>
      </p:pic>
    </p:spTree>
    <p:extLst>
      <p:ext uri="{BB962C8B-B14F-4D97-AF65-F5344CB8AC3E}">
        <p14:creationId xmlns:p14="http://schemas.microsoft.com/office/powerpoint/2010/main" val="24175864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Титульный слайд">
    <p:spTree>
      <p:nvGrpSpPr>
        <p:cNvPr id="1" name=""/>
        <p:cNvGrpSpPr/>
        <p:nvPr/>
      </p:nvGrpSpPr>
      <p:grpSpPr>
        <a:xfrm>
          <a:off x="0" y="0"/>
          <a:ext cx="0" cy="0"/>
          <a:chOff x="0" y="0"/>
          <a:chExt cx="0" cy="0"/>
        </a:xfrm>
      </p:grpSpPr>
      <p:sp>
        <p:nvSpPr>
          <p:cNvPr id="6" name="Номер слайда 5">
            <a:extLst>
              <a:ext uri="{FF2B5EF4-FFF2-40B4-BE49-F238E27FC236}">
                <a16:creationId xmlns:a16="http://schemas.microsoft.com/office/drawing/2014/main" id="{7A1B117A-CE21-4836-AB2E-8DAF1E6D3D17}"/>
              </a:ext>
            </a:extLst>
          </p:cNvPr>
          <p:cNvSpPr>
            <a:spLocks noGrp="1"/>
          </p:cNvSpPr>
          <p:nvPr>
            <p:ph type="sldNum" sz="quarter" idx="12"/>
          </p:nvPr>
        </p:nvSpPr>
        <p:spPr>
          <a:xfrm>
            <a:off x="3727696" y="6126265"/>
            <a:ext cx="521496" cy="365125"/>
          </a:xfrm>
          <a:prstGeom prst="rect">
            <a:avLst/>
          </a:prstGeom>
        </p:spPr>
        <p:txBody>
          <a:bodyPr/>
          <a:lstStyle/>
          <a:p>
            <a:fld id="{054C8753-49EE-4AA4-B7F7-004F2534EA1E}" type="slidenum">
              <a:rPr lang="ru-RU" smtClean="0"/>
              <a:t>‹#›</a:t>
            </a:fld>
            <a:endParaRPr lang="ru-RU" dirty="0"/>
          </a:p>
        </p:txBody>
      </p:sp>
    </p:spTree>
    <p:extLst>
      <p:ext uri="{BB962C8B-B14F-4D97-AF65-F5344CB8AC3E}">
        <p14:creationId xmlns:p14="http://schemas.microsoft.com/office/powerpoint/2010/main" val="18395162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Заголовок и объект">
    <p:spTree>
      <p:nvGrpSpPr>
        <p:cNvPr id="1" name=""/>
        <p:cNvGrpSpPr/>
        <p:nvPr/>
      </p:nvGrpSpPr>
      <p:grpSpPr>
        <a:xfrm>
          <a:off x="0" y="0"/>
          <a:ext cx="0" cy="0"/>
          <a:chOff x="0" y="0"/>
          <a:chExt cx="0" cy="0"/>
        </a:xfrm>
      </p:grpSpPr>
      <p:sp>
        <p:nvSpPr>
          <p:cNvPr id="6" name="Номер слайда 5">
            <a:extLst>
              <a:ext uri="{FF2B5EF4-FFF2-40B4-BE49-F238E27FC236}">
                <a16:creationId xmlns:a16="http://schemas.microsoft.com/office/drawing/2014/main" id="{07C9C99F-1874-4DEC-9199-237D97772B1B}"/>
              </a:ext>
            </a:extLst>
          </p:cNvPr>
          <p:cNvSpPr>
            <a:spLocks noGrp="1"/>
          </p:cNvSpPr>
          <p:nvPr>
            <p:ph type="sldNum" sz="quarter" idx="12"/>
          </p:nvPr>
        </p:nvSpPr>
        <p:spPr>
          <a:xfrm>
            <a:off x="3727696" y="6126265"/>
            <a:ext cx="521496" cy="365125"/>
          </a:xfrm>
          <a:prstGeom prst="rect">
            <a:avLst/>
          </a:prstGeom>
        </p:spPr>
        <p:txBody>
          <a:bodyPr/>
          <a:lstStyle/>
          <a:p>
            <a:fld id="{054C8753-49EE-4AA4-B7F7-004F2534EA1E}" type="slidenum">
              <a:rPr lang="ru-RU" smtClean="0"/>
              <a:pPr/>
              <a:t>‹#›</a:t>
            </a:fld>
            <a:endParaRPr lang="ru-RU" dirty="0"/>
          </a:p>
        </p:txBody>
      </p:sp>
    </p:spTree>
    <p:extLst>
      <p:ext uri="{BB962C8B-B14F-4D97-AF65-F5344CB8AC3E}">
        <p14:creationId xmlns:p14="http://schemas.microsoft.com/office/powerpoint/2010/main" val="38047856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Титульный слайд">
    <p:spTree>
      <p:nvGrpSpPr>
        <p:cNvPr id="1" name=""/>
        <p:cNvGrpSpPr/>
        <p:nvPr/>
      </p:nvGrpSpPr>
      <p:grpSpPr>
        <a:xfrm>
          <a:off x="0" y="0"/>
          <a:ext cx="0" cy="0"/>
          <a:chOff x="0" y="0"/>
          <a:chExt cx="0" cy="0"/>
        </a:xfrm>
      </p:grpSpPr>
      <p:sp>
        <p:nvSpPr>
          <p:cNvPr id="6" name="Номер слайда 5">
            <a:extLst>
              <a:ext uri="{FF2B5EF4-FFF2-40B4-BE49-F238E27FC236}">
                <a16:creationId xmlns:a16="http://schemas.microsoft.com/office/drawing/2014/main" id="{7A1B117A-CE21-4836-AB2E-8DAF1E6D3D17}"/>
              </a:ext>
            </a:extLst>
          </p:cNvPr>
          <p:cNvSpPr>
            <a:spLocks noGrp="1"/>
          </p:cNvSpPr>
          <p:nvPr>
            <p:ph type="sldNum" sz="quarter" idx="12"/>
          </p:nvPr>
        </p:nvSpPr>
        <p:spPr>
          <a:xfrm>
            <a:off x="3257548" y="6126265"/>
            <a:ext cx="521496" cy="365125"/>
          </a:xfrm>
          <a:prstGeom prst="rect">
            <a:avLst/>
          </a:prstGeom>
        </p:spPr>
        <p:txBody>
          <a:bodyPr/>
          <a:lstStyle/>
          <a:p>
            <a:fld id="{054C8753-49EE-4AA4-B7F7-004F2534EA1E}" type="slidenum">
              <a:rPr lang="ru-RU" smtClean="0"/>
              <a:t>‹#›</a:t>
            </a:fld>
            <a:endParaRPr lang="ru-RU" dirty="0"/>
          </a:p>
        </p:txBody>
      </p:sp>
    </p:spTree>
    <p:extLst>
      <p:ext uri="{BB962C8B-B14F-4D97-AF65-F5344CB8AC3E}">
        <p14:creationId xmlns:p14="http://schemas.microsoft.com/office/powerpoint/2010/main" val="145803676"/>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7"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7" Type="http://schemas.openxmlformats.org/officeDocument/2006/relationships/image" Target="../media/image4.png"/><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tags" Target="../tags/tag3.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2.png"/><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tags" Target="../tags/tag4.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7" Type="http://schemas.openxmlformats.org/officeDocument/2006/relationships/image" Target="../media/image4.png"/><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tags" Target="../tags/tag5.x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7" Type="http://schemas.openxmlformats.org/officeDocument/2006/relationships/image" Target="../media/image2.png"/><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tags" Target="../tags/tag6.xml"/></Relationships>
</file>

<file path=ppt/slideMasters/_rels/slideMaster6.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slideLayout" Target="../slideLayouts/slideLayout13.xml"/><Relationship Id="rId7" Type="http://schemas.openxmlformats.org/officeDocument/2006/relationships/tags" Target="../tags/tag7.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theme" Target="../theme/theme6.xml"/><Relationship Id="rId5" Type="http://schemas.openxmlformats.org/officeDocument/2006/relationships/slideLayout" Target="../slideLayouts/slideLayout15.xml"/><Relationship Id="rId4" Type="http://schemas.openxmlformats.org/officeDocument/2006/relationships/slideLayout" Target="../slideLayouts/slideLayout14.xml"/><Relationship Id="rId9" Type="http://schemas.openxmlformats.org/officeDocument/2006/relationships/image" Target="../media/image1.emf"/></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8.xml"/><Relationship Id="rId18" Type="http://schemas.openxmlformats.org/officeDocument/2006/relationships/slideLayout" Target="../slideLayouts/slideLayout33.xml"/><Relationship Id="rId26" Type="http://schemas.openxmlformats.org/officeDocument/2006/relationships/slideLayout" Target="../slideLayouts/slideLayout41.xml"/><Relationship Id="rId39" Type="http://schemas.openxmlformats.org/officeDocument/2006/relationships/theme" Target="../theme/theme7.xml"/><Relationship Id="rId21" Type="http://schemas.openxmlformats.org/officeDocument/2006/relationships/slideLayout" Target="../slideLayouts/slideLayout36.xml"/><Relationship Id="rId34" Type="http://schemas.openxmlformats.org/officeDocument/2006/relationships/slideLayout" Target="../slideLayouts/slideLayout49.xml"/><Relationship Id="rId42" Type="http://schemas.openxmlformats.org/officeDocument/2006/relationships/image" Target="../media/image9.emf"/><Relationship Id="rId7" Type="http://schemas.openxmlformats.org/officeDocument/2006/relationships/slideLayout" Target="../slideLayouts/slideLayout22.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29" Type="http://schemas.openxmlformats.org/officeDocument/2006/relationships/slideLayout" Target="../slideLayouts/slideLayout44.xml"/><Relationship Id="rId41" Type="http://schemas.openxmlformats.org/officeDocument/2006/relationships/oleObject" Target="../embeddings/oleObject8.bin"/><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slideLayout" Target="../slideLayouts/slideLayout39.xml"/><Relationship Id="rId32" Type="http://schemas.openxmlformats.org/officeDocument/2006/relationships/slideLayout" Target="../slideLayouts/slideLayout47.xml"/><Relationship Id="rId37" Type="http://schemas.openxmlformats.org/officeDocument/2006/relationships/slideLayout" Target="../slideLayouts/slideLayout52.xml"/><Relationship Id="rId40" Type="http://schemas.openxmlformats.org/officeDocument/2006/relationships/tags" Target="../tags/tag9.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slideLayout" Target="../slideLayouts/slideLayout38.xml"/><Relationship Id="rId28" Type="http://schemas.openxmlformats.org/officeDocument/2006/relationships/slideLayout" Target="../slideLayouts/slideLayout43.xml"/><Relationship Id="rId36" Type="http://schemas.openxmlformats.org/officeDocument/2006/relationships/slideLayout" Target="../slideLayouts/slideLayout51.xml"/><Relationship Id="rId10" Type="http://schemas.openxmlformats.org/officeDocument/2006/relationships/slideLayout" Target="../slideLayouts/slideLayout25.xml"/><Relationship Id="rId19" Type="http://schemas.openxmlformats.org/officeDocument/2006/relationships/slideLayout" Target="../slideLayouts/slideLayout34.xml"/><Relationship Id="rId31" Type="http://schemas.openxmlformats.org/officeDocument/2006/relationships/slideLayout" Target="../slideLayouts/slideLayout46.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slideLayout" Target="../slideLayouts/slideLayout37.xml"/><Relationship Id="rId27" Type="http://schemas.openxmlformats.org/officeDocument/2006/relationships/slideLayout" Target="../slideLayouts/slideLayout42.xml"/><Relationship Id="rId30" Type="http://schemas.openxmlformats.org/officeDocument/2006/relationships/slideLayout" Target="../slideLayouts/slideLayout45.xml"/><Relationship Id="rId35" Type="http://schemas.openxmlformats.org/officeDocument/2006/relationships/slideLayout" Target="../slideLayouts/slideLayout50.xml"/><Relationship Id="rId8" Type="http://schemas.openxmlformats.org/officeDocument/2006/relationships/slideLayout" Target="../slideLayouts/slideLayout23.xml"/><Relationship Id="rId3" Type="http://schemas.openxmlformats.org/officeDocument/2006/relationships/slideLayout" Target="../slideLayouts/slideLayout18.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slideLayout" Target="../slideLayouts/slideLayout40.xml"/><Relationship Id="rId33" Type="http://schemas.openxmlformats.org/officeDocument/2006/relationships/slideLayout" Target="../slideLayouts/slideLayout48.xml"/><Relationship Id="rId38" Type="http://schemas.openxmlformats.org/officeDocument/2006/relationships/slideLayout" Target="../slideLayouts/slideLayout5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4"/>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Слайд think-cell" r:id="rId5" imgW="359" imgH="360" progId="TCLayout.ActiveDocument.1">
                  <p:embed/>
                </p:oleObj>
              </mc:Choice>
              <mc:Fallback>
                <p:oleObj name="Слайд think-cell" r:id="rId5" imgW="359" imgH="360" progId="TCLayout.ActiveDocument.1">
                  <p:embed/>
                  <p:pic>
                    <p:nvPicPr>
                      <p:cNvPr id="2" name="Объект 1" hidden="1"/>
                      <p:cNvPicPr/>
                      <p:nvPr/>
                    </p:nvPicPr>
                    <p:blipFill>
                      <a:blip r:embed="rId6"/>
                      <a:stretch>
                        <a:fillRect/>
                      </a:stretch>
                    </p:blipFill>
                    <p:spPr>
                      <a:xfrm>
                        <a:off x="1589" y="1589"/>
                        <a:ext cx="1588" cy="1588"/>
                      </a:xfrm>
                      <a:prstGeom prst="rect">
                        <a:avLst/>
                      </a:prstGeom>
                    </p:spPr>
                  </p:pic>
                </p:oleObj>
              </mc:Fallback>
            </mc:AlternateContent>
          </a:graphicData>
        </a:graphic>
      </p:graphicFrame>
      <p:pic>
        <p:nvPicPr>
          <p:cNvPr id="7" name="Рисунок 6">
            <a:extLst>
              <a:ext uri="{FF2B5EF4-FFF2-40B4-BE49-F238E27FC236}">
                <a16:creationId xmlns:a16="http://schemas.microsoft.com/office/drawing/2014/main" id="{CF6EDF09-AA0D-4E85-B458-BF9CBED1E702}"/>
              </a:ext>
            </a:extLst>
          </p:cNvPr>
          <p:cNvPicPr>
            <a:picLocks noChangeAspect="1"/>
          </p:cNvPicPr>
          <p:nvPr userDrawn="1"/>
        </p:nvPicPr>
        <p:blipFill>
          <a:blip r:embed="rId7" cstate="hqprint">
            <a:extLst>
              <a:ext uri="{28A0092B-C50C-407E-A947-70E740481C1C}">
                <a14:useLocalDpi xmlns:a14="http://schemas.microsoft.com/office/drawing/2010/main" val="0"/>
              </a:ext>
            </a:extLst>
          </a:blip>
          <a:stretch>
            <a:fillRect/>
          </a:stretch>
        </p:blipFill>
        <p:spPr>
          <a:xfrm>
            <a:off x="488312" y="6305821"/>
            <a:ext cx="1431224" cy="268739"/>
          </a:xfrm>
          <a:prstGeom prst="rect">
            <a:avLst/>
          </a:prstGeom>
        </p:spPr>
      </p:pic>
      <p:cxnSp>
        <p:nvCxnSpPr>
          <p:cNvPr id="8" name="Прямая соединительная линия 7">
            <a:extLst>
              <a:ext uri="{FF2B5EF4-FFF2-40B4-BE49-F238E27FC236}">
                <a16:creationId xmlns:a16="http://schemas.microsoft.com/office/drawing/2014/main" id="{C8B732FB-8A0E-4B58-9646-39B75236A086}"/>
              </a:ext>
            </a:extLst>
          </p:cNvPr>
          <p:cNvCxnSpPr>
            <a:cxnSpLocks/>
          </p:cNvCxnSpPr>
          <p:nvPr userDrawn="1"/>
        </p:nvCxnSpPr>
        <p:spPr>
          <a:xfrm>
            <a:off x="3503712" y="6440191"/>
            <a:ext cx="345280" cy="0"/>
          </a:xfrm>
          <a:prstGeom prst="line">
            <a:avLst/>
          </a:prstGeom>
          <a:ln w="12700">
            <a:solidFill>
              <a:srgbClr val="415165"/>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A7E2D57-E406-4966-9E02-D34E6ED52C86}"/>
              </a:ext>
            </a:extLst>
          </p:cNvPr>
          <p:cNvSpPr txBox="1"/>
          <p:nvPr userDrawn="1"/>
        </p:nvSpPr>
        <p:spPr>
          <a:xfrm>
            <a:off x="2033412" y="6365263"/>
            <a:ext cx="2730131" cy="161711"/>
          </a:xfrm>
          <a:prstGeom prst="rect">
            <a:avLst/>
          </a:prstGeom>
          <a:noFill/>
        </p:spPr>
        <p:txBody>
          <a:bodyPr wrap="square" lIns="0" tIns="0" rIns="0" bIns="0" rtlCol="0">
            <a:spAutoFit/>
          </a:bodyPr>
          <a:lstStyle/>
          <a:p>
            <a:pPr defTabSz="0"/>
            <a:r>
              <a:rPr lang="en-US" sz="1051" dirty="0">
                <a:solidFill>
                  <a:srgbClr val="283A51"/>
                </a:solidFill>
                <a:latin typeface="Circe Light" panose="020B0402020203020203" pitchFamily="34" charset="-52"/>
              </a:rPr>
              <a:t>Earnings presentation</a:t>
            </a:r>
            <a:endParaRPr lang="ru-RU" sz="1051" dirty="0">
              <a:solidFill>
                <a:srgbClr val="283A51"/>
              </a:solidFill>
              <a:latin typeface="Circe Light" panose="020B0402020203020203" pitchFamily="34" charset="-52"/>
            </a:endParaRPr>
          </a:p>
        </p:txBody>
      </p:sp>
      <p:sp>
        <p:nvSpPr>
          <p:cNvPr id="10" name="Номер слайда 5">
            <a:extLst>
              <a:ext uri="{FF2B5EF4-FFF2-40B4-BE49-F238E27FC236}">
                <a16:creationId xmlns:a16="http://schemas.microsoft.com/office/drawing/2014/main" id="{60315CCD-8C7F-4E6F-9DE8-33C698769B17}"/>
              </a:ext>
            </a:extLst>
          </p:cNvPr>
          <p:cNvSpPr txBox="1">
            <a:spLocks/>
          </p:cNvSpPr>
          <p:nvPr userDrawn="1"/>
        </p:nvSpPr>
        <p:spPr>
          <a:xfrm>
            <a:off x="4151785" y="6263491"/>
            <a:ext cx="611759" cy="365125"/>
          </a:xfrm>
          <a:prstGeom prst="rect">
            <a:avLst/>
          </a:prstGeom>
        </p:spPr>
        <p:txBody>
          <a:bodyPr/>
          <a:lstStyle>
            <a:defPPr>
              <a:defRPr lang="ru-RU"/>
            </a:defPPr>
            <a:lvl1pPr>
              <a:defRPr sz="2000"/>
            </a:lvl1pPr>
          </a:lstStyle>
          <a:p>
            <a:pPr lvl="0"/>
            <a:fld id="{054C8753-49EE-4AA4-B7F7-004F2534EA1E}" type="slidenum">
              <a:rPr lang="ru-RU" sz="2000" smtClean="0"/>
              <a:pPr lvl="0"/>
              <a:t>‹#›</a:t>
            </a:fld>
            <a:endParaRPr lang="ru-RU" sz="2000" dirty="0"/>
          </a:p>
        </p:txBody>
      </p:sp>
    </p:spTree>
    <p:extLst>
      <p:ext uri="{BB962C8B-B14F-4D97-AF65-F5344CB8AC3E}">
        <p14:creationId xmlns:p14="http://schemas.microsoft.com/office/powerpoint/2010/main" val="3633158340"/>
      </p:ext>
    </p:extLst>
  </p:cSld>
  <p:clrMap bg1="lt1" tx1="dk1" bg2="lt2" tx2="dk2" accent1="accent1" accent2="accent2" accent3="accent3" accent4="accent4" accent5="accent5" accent6="accent6" hlink="hlink" folHlink="folHlink"/>
  <p:sldLayoutIdLst>
    <p:sldLayoutId id="2147483674" r:id="rId1"/>
    <p:sldLayoutId id="2147483675" r:id="rId2"/>
  </p:sldLayoutIdLst>
  <p:hf hdr="0" ftr="0" dt="0"/>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Объект 1" hidden="1">
            <a:extLst>
              <a:ext uri="{FF2B5EF4-FFF2-40B4-BE49-F238E27FC236}">
                <a16:creationId xmlns:a16="http://schemas.microsoft.com/office/drawing/2014/main" id="{8409898E-CD35-0444-B7FF-823D90A040F7}"/>
              </a:ext>
            </a:extLst>
          </p:cNvPr>
          <p:cNvGraphicFramePr>
            <a:graphicFrameLocks noChangeAspect="1"/>
          </p:cNvGraphicFramePr>
          <p:nvPr userDrawn="1">
            <p:custDataLst>
              <p:tags r:id="rId4"/>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Слайд think-cell" r:id="rId5" imgW="7772400" imgH="10058400" progId="TCLayout.ActiveDocument.1">
                  <p:embed/>
                </p:oleObj>
              </mc:Choice>
              <mc:Fallback>
                <p:oleObj name="Слайд think-cell" r:id="rId5" imgW="7772400" imgH="10058400" progId="TCLayout.ActiveDocument.1">
                  <p:embed/>
                  <p:pic>
                    <p:nvPicPr>
                      <p:cNvPr id="2" name="Объект 1" hidden="1">
                        <a:extLst>
                          <a:ext uri="{FF2B5EF4-FFF2-40B4-BE49-F238E27FC236}">
                            <a16:creationId xmlns:a16="http://schemas.microsoft.com/office/drawing/2014/main" id="{8409898E-CD35-0444-B7FF-823D90A040F7}"/>
                          </a:ext>
                        </a:extLst>
                      </p:cNvPr>
                      <p:cNvPicPr/>
                      <p:nvPr/>
                    </p:nvPicPr>
                    <p:blipFill>
                      <a:blip r:embed="rId6"/>
                      <a:stretch>
                        <a:fillRect/>
                      </a:stretch>
                    </p:blipFill>
                    <p:spPr>
                      <a:xfrm>
                        <a:off x="1589" y="1589"/>
                        <a:ext cx="1587" cy="1587"/>
                      </a:xfrm>
                      <a:prstGeom prst="rect">
                        <a:avLst/>
                      </a:prstGeom>
                    </p:spPr>
                  </p:pic>
                </p:oleObj>
              </mc:Fallback>
            </mc:AlternateContent>
          </a:graphicData>
        </a:graphic>
      </p:graphicFrame>
      <p:cxnSp>
        <p:nvCxnSpPr>
          <p:cNvPr id="3" name="Прямая соединительная линия 2">
            <a:extLst>
              <a:ext uri="{FF2B5EF4-FFF2-40B4-BE49-F238E27FC236}">
                <a16:creationId xmlns:a16="http://schemas.microsoft.com/office/drawing/2014/main" id="{C8B732FB-8A0E-4B58-9646-39B75236A086}"/>
              </a:ext>
            </a:extLst>
          </p:cNvPr>
          <p:cNvCxnSpPr>
            <a:cxnSpLocks/>
          </p:cNvCxnSpPr>
          <p:nvPr userDrawn="1"/>
        </p:nvCxnSpPr>
        <p:spPr>
          <a:xfrm>
            <a:off x="3359696" y="6295576"/>
            <a:ext cx="345280" cy="0"/>
          </a:xfrm>
          <a:prstGeom prst="line">
            <a:avLst/>
          </a:prstGeom>
          <a:ln w="12700">
            <a:solidFill>
              <a:srgbClr val="415165"/>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782F8F90-BF96-4BFE-883A-4458FA97B361}"/>
              </a:ext>
            </a:extLst>
          </p:cNvPr>
          <p:cNvSpPr txBox="1"/>
          <p:nvPr userDrawn="1"/>
        </p:nvSpPr>
        <p:spPr>
          <a:xfrm>
            <a:off x="1756133" y="6226807"/>
            <a:ext cx="3403764" cy="161711"/>
          </a:xfrm>
          <a:prstGeom prst="rect">
            <a:avLst/>
          </a:prstGeom>
          <a:noFill/>
        </p:spPr>
        <p:txBody>
          <a:bodyPr wrap="square" lIns="0" tIns="0" rIns="0" bIns="0" rtlCol="0">
            <a:spAutoFit/>
          </a:bodyPr>
          <a:lstStyle/>
          <a:p>
            <a:pPr defTabSz="0"/>
            <a:r>
              <a:rPr lang="ru-RU" sz="1051" dirty="0">
                <a:solidFill>
                  <a:srgbClr val="283A51"/>
                </a:solidFill>
                <a:latin typeface="Circe Light" panose="020B0402020203020203" pitchFamily="34" charset="-52"/>
              </a:rPr>
              <a:t>Итоги Группы по МСФО</a:t>
            </a:r>
          </a:p>
        </p:txBody>
      </p:sp>
      <p:sp>
        <p:nvSpPr>
          <p:cNvPr id="8" name="Номер слайда 29">
            <a:extLst>
              <a:ext uri="{FF2B5EF4-FFF2-40B4-BE49-F238E27FC236}">
                <a16:creationId xmlns:a16="http://schemas.microsoft.com/office/drawing/2014/main" id="{9E42A083-A0D0-7940-8508-DE315CE42248}"/>
              </a:ext>
            </a:extLst>
          </p:cNvPr>
          <p:cNvSpPr txBox="1">
            <a:spLocks/>
          </p:cNvSpPr>
          <p:nvPr userDrawn="1"/>
        </p:nvSpPr>
        <p:spPr>
          <a:xfrm>
            <a:off x="3791744" y="6131396"/>
            <a:ext cx="521496" cy="365125"/>
          </a:xfrm>
          <a:prstGeom prst="rect">
            <a:avLst/>
          </a:prstGeom>
        </p:spPr>
        <p:txBody>
          <a:bodyPr vert="horz" lIns="91440" tIns="45720" rIns="91440" bIns="45720" rtlCol="0" anchor="ctr"/>
          <a:lstStyle>
            <a:defPPr>
              <a:defRPr lang="ru-RU"/>
            </a:defPPr>
            <a:lvl1pPr marL="0" algn="l" defTabSz="914400" rtl="0" eaLnBrk="1" latinLnBrk="0" hangingPunct="1">
              <a:defRPr sz="1150" kern="1200">
                <a:solidFill>
                  <a:srgbClr val="283A51"/>
                </a:solidFill>
                <a:latin typeface="Circe Light" panose="020B0402020203020203" pitchFamily="34" charset="-52"/>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054C8753-49EE-4AA4-B7F7-004F2534EA1E}" type="slidenum">
              <a:rPr lang="ru-RU" sz="2000" smtClean="0"/>
              <a:pPr>
                <a:defRPr/>
              </a:pPr>
              <a:t>‹#›</a:t>
            </a:fld>
            <a:endParaRPr lang="ru-RU" sz="2000" dirty="0"/>
          </a:p>
        </p:txBody>
      </p:sp>
      <p:pic>
        <p:nvPicPr>
          <p:cNvPr id="10" name="Picture 4" descr="ÐÐ°ÑÑÐ¸Ð½ÐºÐ¸ Ð¿Ð¾ Ð·Ð°Ð¿ÑÐ¾ÑÑ sberbank logo">
            <a:extLst>
              <a:ext uri="{FF2B5EF4-FFF2-40B4-BE49-F238E27FC236}">
                <a16:creationId xmlns:a16="http://schemas.microsoft.com/office/drawing/2014/main" id="{8D39EAB9-1777-C341-83D4-69A63E531058}"/>
              </a:ext>
            </a:extLst>
          </p:cNvPr>
          <p:cNvPicPr>
            <a:picLocks noChangeAspect="1" noChangeArrowheads="1"/>
          </p:cNvPicPr>
          <p:nvPr userDrawn="1"/>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7872" t="28488" r="7756" b="28536"/>
          <a:stretch/>
        </p:blipFill>
        <p:spPr bwMode="auto">
          <a:xfrm>
            <a:off x="317934" y="6118220"/>
            <a:ext cx="1352207" cy="3616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6745388"/>
      </p:ext>
    </p:extLst>
  </p:cSld>
  <p:clrMap bg1="lt1" tx1="dk1" bg2="lt2" tx2="dk2" accent1="accent1" accent2="accent2" accent3="accent3" accent4="accent4" accent5="accent5" accent6="accent6" hlink="hlink" folHlink="folHlink"/>
  <p:sldLayoutIdLst>
    <p:sldLayoutId id="2147483679" r:id="rId1"/>
    <p:sldLayoutId id="2147483680" r:id="rId2"/>
  </p:sldLayoutIdLst>
  <p:hf hdr="0" ftr="0" dt="0"/>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5" imgW="359" imgH="360" progId="TCLayout.ActiveDocument.1">
                  <p:embed/>
                </p:oleObj>
              </mc:Choice>
              <mc:Fallback>
                <p:oleObj name="Слайд think-cell" r:id="rId5" imgW="359" imgH="360" progId="TCLayout.ActiveDocument.1">
                  <p:embed/>
                  <p:pic>
                    <p:nvPicPr>
                      <p:cNvPr id="2" name="Объект 1"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7" name="Рисунок 6">
            <a:extLst>
              <a:ext uri="{FF2B5EF4-FFF2-40B4-BE49-F238E27FC236}">
                <a16:creationId xmlns:a16="http://schemas.microsoft.com/office/drawing/2014/main" id="{CF6EDF09-AA0D-4E85-B458-BF9CBED1E702}"/>
              </a:ext>
            </a:extLst>
          </p:cNvPr>
          <p:cNvPicPr>
            <a:picLocks noChangeAspect="1"/>
          </p:cNvPicPr>
          <p:nvPr userDrawn="1"/>
        </p:nvPicPr>
        <p:blipFill>
          <a:blip r:embed="rId7" cstate="hqprint">
            <a:extLst>
              <a:ext uri="{28A0092B-C50C-407E-A947-70E740481C1C}">
                <a14:useLocalDpi xmlns:a14="http://schemas.microsoft.com/office/drawing/2010/main" val="0"/>
              </a:ext>
            </a:extLst>
          </a:blip>
          <a:stretch>
            <a:fillRect/>
          </a:stretch>
        </p:blipFill>
        <p:spPr>
          <a:xfrm>
            <a:off x="488312" y="6305821"/>
            <a:ext cx="1431224" cy="268739"/>
          </a:xfrm>
          <a:prstGeom prst="rect">
            <a:avLst/>
          </a:prstGeom>
        </p:spPr>
      </p:pic>
      <p:cxnSp>
        <p:nvCxnSpPr>
          <p:cNvPr id="8" name="Прямая соединительная линия 7">
            <a:extLst>
              <a:ext uri="{FF2B5EF4-FFF2-40B4-BE49-F238E27FC236}">
                <a16:creationId xmlns:a16="http://schemas.microsoft.com/office/drawing/2014/main" id="{C8B732FB-8A0E-4B58-9646-39B75236A086}"/>
              </a:ext>
            </a:extLst>
          </p:cNvPr>
          <p:cNvCxnSpPr>
            <a:cxnSpLocks/>
          </p:cNvCxnSpPr>
          <p:nvPr userDrawn="1"/>
        </p:nvCxnSpPr>
        <p:spPr>
          <a:xfrm>
            <a:off x="3503712" y="6440190"/>
            <a:ext cx="345280" cy="0"/>
          </a:xfrm>
          <a:prstGeom prst="line">
            <a:avLst/>
          </a:prstGeom>
          <a:ln w="12700">
            <a:solidFill>
              <a:srgbClr val="415165"/>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A7E2D57-E406-4966-9E02-D34E6ED52C86}"/>
              </a:ext>
            </a:extLst>
          </p:cNvPr>
          <p:cNvSpPr txBox="1"/>
          <p:nvPr userDrawn="1"/>
        </p:nvSpPr>
        <p:spPr>
          <a:xfrm>
            <a:off x="2033412" y="6365262"/>
            <a:ext cx="2730130" cy="161583"/>
          </a:xfrm>
          <a:prstGeom prst="rect">
            <a:avLst/>
          </a:prstGeom>
          <a:noFill/>
        </p:spPr>
        <p:txBody>
          <a:bodyPr wrap="square" lIns="0" tIns="0" rIns="0" bIns="0" rtlCol="0">
            <a:spAutoFit/>
          </a:bodyPr>
          <a:lstStyle/>
          <a:p>
            <a:pPr defTabSz="0"/>
            <a:r>
              <a:rPr lang="en-US" sz="1050" dirty="0">
                <a:solidFill>
                  <a:srgbClr val="283A51"/>
                </a:solidFill>
                <a:latin typeface="Circe Light" panose="020B0402020203020203" pitchFamily="34" charset="-52"/>
              </a:rPr>
              <a:t>Earnings presentation</a:t>
            </a:r>
            <a:endParaRPr lang="ru-RU" sz="1050" dirty="0">
              <a:solidFill>
                <a:srgbClr val="283A51"/>
              </a:solidFill>
              <a:latin typeface="Circe Light" panose="020B0402020203020203" pitchFamily="34" charset="-52"/>
            </a:endParaRPr>
          </a:p>
        </p:txBody>
      </p:sp>
      <p:sp>
        <p:nvSpPr>
          <p:cNvPr id="10" name="Номер слайда 5">
            <a:extLst>
              <a:ext uri="{FF2B5EF4-FFF2-40B4-BE49-F238E27FC236}">
                <a16:creationId xmlns:a16="http://schemas.microsoft.com/office/drawing/2014/main" id="{60315CCD-8C7F-4E6F-9DE8-33C698769B17}"/>
              </a:ext>
            </a:extLst>
          </p:cNvPr>
          <p:cNvSpPr txBox="1">
            <a:spLocks/>
          </p:cNvSpPr>
          <p:nvPr userDrawn="1"/>
        </p:nvSpPr>
        <p:spPr>
          <a:xfrm>
            <a:off x="4151784" y="6263490"/>
            <a:ext cx="611758" cy="365125"/>
          </a:xfrm>
          <a:prstGeom prst="rect">
            <a:avLst/>
          </a:prstGeom>
        </p:spPr>
        <p:txBody>
          <a:bodyPr/>
          <a:lstStyle>
            <a:defPPr>
              <a:defRPr lang="ru-RU"/>
            </a:defPPr>
            <a:lvl1pPr>
              <a:defRPr sz="2000"/>
            </a:lvl1pPr>
          </a:lstStyle>
          <a:p>
            <a:pPr lvl="0"/>
            <a:fld id="{054C8753-49EE-4AA4-B7F7-004F2534EA1E}" type="slidenum">
              <a:rPr lang="ru-RU" smtClean="0"/>
              <a:pPr lvl="0"/>
              <a:t>‹#›</a:t>
            </a:fld>
            <a:endParaRPr lang="ru-RU" dirty="0"/>
          </a:p>
        </p:txBody>
      </p:sp>
    </p:spTree>
    <p:extLst>
      <p:ext uri="{BB962C8B-B14F-4D97-AF65-F5344CB8AC3E}">
        <p14:creationId xmlns:p14="http://schemas.microsoft.com/office/powerpoint/2010/main" val="987232082"/>
      </p:ext>
    </p:extLst>
  </p:cSld>
  <p:clrMap bg1="lt1" tx1="dk1" bg2="lt2" tx2="dk2" accent1="accent1" accent2="accent2" accent3="accent3" accent4="accent4" accent5="accent5" accent6="accent6" hlink="hlink" folHlink="folHlink"/>
  <p:sldLayoutIdLst>
    <p:sldLayoutId id="2147483686" r:id="rId1"/>
    <p:sldLayoutId id="2147483687" r:id="rId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Объект 1" hidden="1">
            <a:extLst>
              <a:ext uri="{FF2B5EF4-FFF2-40B4-BE49-F238E27FC236}">
                <a16:creationId xmlns:a16="http://schemas.microsoft.com/office/drawing/2014/main" id="{8409898E-CD35-0444-B7FF-823D90A040F7}"/>
              </a:ext>
            </a:extLst>
          </p:cNvPr>
          <p:cNvGraphicFramePr>
            <a:graphicFrameLocks noChangeAspect="1"/>
          </p:cNvGraphicFramePr>
          <p:nvPr userDrawn="1">
            <p:custDataLst>
              <p:tags r:id="rId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Слайд think-cell" r:id="rId5" imgW="7772400" imgH="10058400" progId="TCLayout.ActiveDocument.1">
                  <p:embed/>
                </p:oleObj>
              </mc:Choice>
              <mc:Fallback>
                <p:oleObj name="Слайд think-cell" r:id="rId5" imgW="7772400" imgH="10058400" progId="TCLayout.ActiveDocument.1">
                  <p:embed/>
                  <p:pic>
                    <p:nvPicPr>
                      <p:cNvPr id="2" name="Объект 1" hidden="1">
                        <a:extLst>
                          <a:ext uri="{FF2B5EF4-FFF2-40B4-BE49-F238E27FC236}">
                            <a16:creationId xmlns:a16="http://schemas.microsoft.com/office/drawing/2014/main" id="{8409898E-CD35-0444-B7FF-823D90A040F7}"/>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cxnSp>
        <p:nvCxnSpPr>
          <p:cNvPr id="3" name="Прямая соединительная линия 2">
            <a:extLst>
              <a:ext uri="{FF2B5EF4-FFF2-40B4-BE49-F238E27FC236}">
                <a16:creationId xmlns:a16="http://schemas.microsoft.com/office/drawing/2014/main" id="{C8B732FB-8A0E-4B58-9646-39B75236A086}"/>
              </a:ext>
            </a:extLst>
          </p:cNvPr>
          <p:cNvCxnSpPr>
            <a:cxnSpLocks/>
          </p:cNvCxnSpPr>
          <p:nvPr userDrawn="1"/>
        </p:nvCxnSpPr>
        <p:spPr>
          <a:xfrm>
            <a:off x="3359696" y="6295576"/>
            <a:ext cx="345280" cy="0"/>
          </a:xfrm>
          <a:prstGeom prst="line">
            <a:avLst/>
          </a:prstGeom>
          <a:ln w="12700">
            <a:solidFill>
              <a:srgbClr val="415165"/>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782F8F90-BF96-4BFE-883A-4458FA97B361}"/>
              </a:ext>
            </a:extLst>
          </p:cNvPr>
          <p:cNvSpPr txBox="1"/>
          <p:nvPr userDrawn="1"/>
        </p:nvSpPr>
        <p:spPr>
          <a:xfrm>
            <a:off x="1756132" y="6226806"/>
            <a:ext cx="3403764" cy="161583"/>
          </a:xfrm>
          <a:prstGeom prst="rect">
            <a:avLst/>
          </a:prstGeom>
          <a:noFill/>
        </p:spPr>
        <p:txBody>
          <a:bodyPr wrap="square" lIns="0" tIns="0" rIns="0" bIns="0" rtlCol="0">
            <a:spAutoFit/>
          </a:bodyPr>
          <a:lstStyle/>
          <a:p>
            <a:pPr defTabSz="0"/>
            <a:r>
              <a:rPr lang="ru-RU" sz="1050" dirty="0">
                <a:solidFill>
                  <a:srgbClr val="283A51"/>
                </a:solidFill>
                <a:latin typeface="Circe Light" panose="020B0402020203020203" pitchFamily="34" charset="-52"/>
              </a:rPr>
              <a:t>Итоги Группы по МСФО</a:t>
            </a:r>
          </a:p>
        </p:txBody>
      </p:sp>
      <p:sp>
        <p:nvSpPr>
          <p:cNvPr id="8" name="Номер слайда 29">
            <a:extLst>
              <a:ext uri="{FF2B5EF4-FFF2-40B4-BE49-F238E27FC236}">
                <a16:creationId xmlns:a16="http://schemas.microsoft.com/office/drawing/2014/main" id="{9E42A083-A0D0-7940-8508-DE315CE42248}"/>
              </a:ext>
            </a:extLst>
          </p:cNvPr>
          <p:cNvSpPr txBox="1">
            <a:spLocks/>
          </p:cNvSpPr>
          <p:nvPr userDrawn="1"/>
        </p:nvSpPr>
        <p:spPr>
          <a:xfrm>
            <a:off x="3791744" y="6131396"/>
            <a:ext cx="521496" cy="365125"/>
          </a:xfrm>
          <a:prstGeom prst="rect">
            <a:avLst/>
          </a:prstGeom>
        </p:spPr>
        <p:txBody>
          <a:bodyPr vert="horz" lIns="91440" tIns="45720" rIns="91440" bIns="45720" rtlCol="0" anchor="ctr"/>
          <a:lstStyle>
            <a:defPPr>
              <a:defRPr lang="ru-RU"/>
            </a:defPPr>
            <a:lvl1pPr marL="0" algn="l" defTabSz="914400" rtl="0" eaLnBrk="1" latinLnBrk="0" hangingPunct="1">
              <a:defRPr sz="1150" kern="1200">
                <a:solidFill>
                  <a:srgbClr val="283A51"/>
                </a:solidFill>
                <a:latin typeface="Circe Light" panose="020B0402020203020203" pitchFamily="34" charset="-52"/>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054C8753-49EE-4AA4-B7F7-004F2534EA1E}" type="slidenum">
              <a:rPr lang="ru-RU" sz="2000" smtClean="0"/>
              <a:pPr>
                <a:defRPr/>
              </a:pPr>
              <a:t>‹#›</a:t>
            </a:fld>
            <a:endParaRPr lang="ru-RU" sz="2000" dirty="0"/>
          </a:p>
        </p:txBody>
      </p:sp>
      <p:pic>
        <p:nvPicPr>
          <p:cNvPr id="10" name="Picture 4" descr="ÐÐ°ÑÑÐ¸Ð½ÐºÐ¸ Ð¿Ð¾ Ð·Ð°Ð¿ÑÐ¾ÑÑ sberbank logo">
            <a:extLst>
              <a:ext uri="{FF2B5EF4-FFF2-40B4-BE49-F238E27FC236}">
                <a16:creationId xmlns:a16="http://schemas.microsoft.com/office/drawing/2014/main" id="{8D39EAB9-1777-C341-83D4-69A63E531058}"/>
              </a:ext>
            </a:extLst>
          </p:cNvPr>
          <p:cNvPicPr>
            <a:picLocks noChangeAspect="1" noChangeArrowheads="1"/>
          </p:cNvPicPr>
          <p:nvPr userDrawn="1"/>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7872" t="28488" r="7756" b="28536"/>
          <a:stretch/>
        </p:blipFill>
        <p:spPr bwMode="auto">
          <a:xfrm>
            <a:off x="317934" y="6118220"/>
            <a:ext cx="1352206" cy="3616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6160759"/>
      </p:ext>
    </p:extLst>
  </p:cSld>
  <p:clrMap bg1="lt1" tx1="dk1" bg2="lt2" tx2="dk2" accent1="accent1" accent2="accent2" accent3="accent3" accent4="accent4" accent5="accent5" accent6="accent6" hlink="hlink" folHlink="folHlink"/>
  <p:sldLayoutIdLst>
    <p:sldLayoutId id="2147483698" r:id="rId1"/>
    <p:sldLayoutId id="2147483699" r:id="rId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5" imgW="359" imgH="360" progId="TCLayout.ActiveDocument.1">
                  <p:embed/>
                </p:oleObj>
              </mc:Choice>
              <mc:Fallback>
                <p:oleObj name="Слайд think-cell" r:id="rId5" imgW="359" imgH="360" progId="TCLayout.ActiveDocument.1">
                  <p:embed/>
                  <p:pic>
                    <p:nvPicPr>
                      <p:cNvPr id="2" name="Объект 1"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7" name="Рисунок 6">
            <a:extLst>
              <a:ext uri="{FF2B5EF4-FFF2-40B4-BE49-F238E27FC236}">
                <a16:creationId xmlns:a16="http://schemas.microsoft.com/office/drawing/2014/main" id="{CF6EDF09-AA0D-4E85-B458-BF9CBED1E702}"/>
              </a:ext>
            </a:extLst>
          </p:cNvPr>
          <p:cNvPicPr>
            <a:picLocks noChangeAspect="1"/>
          </p:cNvPicPr>
          <p:nvPr userDrawn="1"/>
        </p:nvPicPr>
        <p:blipFill>
          <a:blip r:embed="rId7" cstate="hqprint">
            <a:extLst>
              <a:ext uri="{28A0092B-C50C-407E-A947-70E740481C1C}">
                <a14:useLocalDpi xmlns:a14="http://schemas.microsoft.com/office/drawing/2010/main" val="0"/>
              </a:ext>
            </a:extLst>
          </a:blip>
          <a:stretch>
            <a:fillRect/>
          </a:stretch>
        </p:blipFill>
        <p:spPr>
          <a:xfrm>
            <a:off x="488312" y="6305821"/>
            <a:ext cx="1431224" cy="268739"/>
          </a:xfrm>
          <a:prstGeom prst="rect">
            <a:avLst/>
          </a:prstGeom>
        </p:spPr>
      </p:pic>
      <p:cxnSp>
        <p:nvCxnSpPr>
          <p:cNvPr id="8" name="Прямая соединительная линия 7">
            <a:extLst>
              <a:ext uri="{FF2B5EF4-FFF2-40B4-BE49-F238E27FC236}">
                <a16:creationId xmlns:a16="http://schemas.microsoft.com/office/drawing/2014/main" id="{C8B732FB-8A0E-4B58-9646-39B75236A086}"/>
              </a:ext>
            </a:extLst>
          </p:cNvPr>
          <p:cNvCxnSpPr>
            <a:cxnSpLocks/>
          </p:cNvCxnSpPr>
          <p:nvPr userDrawn="1"/>
        </p:nvCxnSpPr>
        <p:spPr>
          <a:xfrm>
            <a:off x="3503712" y="6440190"/>
            <a:ext cx="345280" cy="0"/>
          </a:xfrm>
          <a:prstGeom prst="line">
            <a:avLst/>
          </a:prstGeom>
          <a:ln w="12700">
            <a:solidFill>
              <a:srgbClr val="415165"/>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A7E2D57-E406-4966-9E02-D34E6ED52C86}"/>
              </a:ext>
            </a:extLst>
          </p:cNvPr>
          <p:cNvSpPr txBox="1"/>
          <p:nvPr userDrawn="1"/>
        </p:nvSpPr>
        <p:spPr>
          <a:xfrm>
            <a:off x="2033412" y="6365262"/>
            <a:ext cx="2730130" cy="161583"/>
          </a:xfrm>
          <a:prstGeom prst="rect">
            <a:avLst/>
          </a:prstGeom>
          <a:noFill/>
        </p:spPr>
        <p:txBody>
          <a:bodyPr wrap="square" lIns="0" tIns="0" rIns="0" bIns="0" rtlCol="0">
            <a:spAutoFit/>
          </a:bodyPr>
          <a:lstStyle/>
          <a:p>
            <a:pPr defTabSz="0"/>
            <a:r>
              <a:rPr lang="en-US" sz="1050" dirty="0">
                <a:solidFill>
                  <a:srgbClr val="283A51"/>
                </a:solidFill>
                <a:latin typeface="Circe Light" panose="020B0402020203020203" pitchFamily="34" charset="-52"/>
              </a:rPr>
              <a:t>Earnings presentation</a:t>
            </a:r>
            <a:endParaRPr lang="ru-RU" sz="1050" dirty="0">
              <a:solidFill>
                <a:srgbClr val="283A51"/>
              </a:solidFill>
              <a:latin typeface="Circe Light" panose="020B0402020203020203" pitchFamily="34" charset="-52"/>
            </a:endParaRPr>
          </a:p>
        </p:txBody>
      </p:sp>
      <p:sp>
        <p:nvSpPr>
          <p:cNvPr id="10" name="Номер слайда 5">
            <a:extLst>
              <a:ext uri="{FF2B5EF4-FFF2-40B4-BE49-F238E27FC236}">
                <a16:creationId xmlns:a16="http://schemas.microsoft.com/office/drawing/2014/main" id="{60315CCD-8C7F-4E6F-9DE8-33C698769B17}"/>
              </a:ext>
            </a:extLst>
          </p:cNvPr>
          <p:cNvSpPr txBox="1">
            <a:spLocks/>
          </p:cNvSpPr>
          <p:nvPr userDrawn="1"/>
        </p:nvSpPr>
        <p:spPr>
          <a:xfrm>
            <a:off x="4151784" y="6263490"/>
            <a:ext cx="611758" cy="365125"/>
          </a:xfrm>
          <a:prstGeom prst="rect">
            <a:avLst/>
          </a:prstGeom>
        </p:spPr>
        <p:txBody>
          <a:bodyPr/>
          <a:lstStyle>
            <a:defPPr>
              <a:defRPr lang="ru-RU"/>
            </a:defPPr>
            <a:lvl1pPr>
              <a:defRPr sz="2000"/>
            </a:lvl1pPr>
          </a:lstStyle>
          <a:p>
            <a:pPr lvl="0"/>
            <a:fld id="{054C8753-49EE-4AA4-B7F7-004F2534EA1E}" type="slidenum">
              <a:rPr lang="ru-RU" smtClean="0"/>
              <a:pPr lvl="0"/>
              <a:t>‹#›</a:t>
            </a:fld>
            <a:endParaRPr lang="ru-RU" dirty="0"/>
          </a:p>
        </p:txBody>
      </p:sp>
    </p:spTree>
    <p:extLst>
      <p:ext uri="{BB962C8B-B14F-4D97-AF65-F5344CB8AC3E}">
        <p14:creationId xmlns:p14="http://schemas.microsoft.com/office/powerpoint/2010/main" val="3690685435"/>
      </p:ext>
    </p:extLst>
  </p:cSld>
  <p:clrMap bg1="lt1" tx1="dk1" bg2="lt2" tx2="dk2" accent1="accent1" accent2="accent2" accent3="accent3" accent4="accent4" accent5="accent5" accent6="accent6" hlink="hlink" folHlink="folHlink"/>
  <p:sldLayoutIdLst>
    <p:sldLayoutId id="2147483731" r:id="rId1"/>
    <p:sldLayoutId id="2147483732" r:id="rId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Объект 2" hidden="1"/>
          <p:cNvGraphicFramePr>
            <a:graphicFrameLocks noChangeAspect="1"/>
          </p:cNvGraphicFramePr>
          <p:nvPr userDrawn="1">
            <p:custDataLst>
              <p:tags r:id="rId7"/>
            </p:custDataLst>
            <p:extLst>
              <p:ext uri="{D42A27DB-BD31-4B8C-83A1-F6EECF244321}">
                <p14:modId xmlns:p14="http://schemas.microsoft.com/office/powerpoint/2010/main" val="3068106504"/>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Слайд think-cell" r:id="rId8" imgW="359" imgH="360" progId="TCLayout.ActiveDocument.1">
                  <p:embed/>
                </p:oleObj>
              </mc:Choice>
              <mc:Fallback>
                <p:oleObj name="Слайд think-cell" r:id="rId8" imgW="359" imgH="360" progId="TCLayout.ActiveDocument.1">
                  <p:embed/>
                  <p:pic>
                    <p:nvPicPr>
                      <p:cNvPr id="3" name="Объект 2" hidden="1"/>
                      <p:cNvPicPr/>
                      <p:nvPr/>
                    </p:nvPicPr>
                    <p:blipFill>
                      <a:blip r:embed="rId9"/>
                      <a:stretch>
                        <a:fillRect/>
                      </a:stretch>
                    </p:blipFill>
                    <p:spPr>
                      <a:xfrm>
                        <a:off x="2118" y="2118"/>
                        <a:ext cx="2117" cy="2117"/>
                      </a:xfrm>
                      <a:prstGeom prst="rect">
                        <a:avLst/>
                      </a:prstGeom>
                    </p:spPr>
                  </p:pic>
                </p:oleObj>
              </mc:Fallback>
            </mc:AlternateContent>
          </a:graphicData>
        </a:graphic>
      </p:graphicFrame>
    </p:spTree>
    <p:extLst>
      <p:ext uri="{BB962C8B-B14F-4D97-AF65-F5344CB8AC3E}">
        <p14:creationId xmlns:p14="http://schemas.microsoft.com/office/powerpoint/2010/main" val="2426487637"/>
      </p:ext>
    </p:extLst>
  </p:cSld>
  <p:clrMap bg1="lt1" tx1="dk1" bg2="lt2" tx2="dk2" accent1="accent1" accent2="accent2" accent3="accent3" accent4="accent4" accent5="accent5" accent6="accent6" hlink="hlink" folHlink="folHlink"/>
  <p:sldLayoutIdLst>
    <p:sldLayoutId id="2147484900" r:id="rId1"/>
    <p:sldLayoutId id="2147484901" r:id="rId2"/>
    <p:sldLayoutId id="2147484902" r:id="rId3"/>
    <p:sldLayoutId id="2147484903" r:id="rId4"/>
    <p:sldLayoutId id="2147484904" r:id="rId5"/>
  </p:sldLayoutIdLst>
  <p:hf hdr="0" ftr="0" dt="0"/>
  <p:txStyles>
    <p:titleStyle>
      <a:lvl1pPr algn="l" defTabSz="914377" rtl="0" eaLnBrk="1" latinLnBrk="0" hangingPunct="1">
        <a:lnSpc>
          <a:spcPct val="90000"/>
        </a:lnSpc>
        <a:spcBef>
          <a:spcPct val="0"/>
        </a:spcBef>
        <a:buNone/>
        <a:defRPr lang="en-US" sz="2267" b="0" i="0" kern="1200" cap="none" baseline="0" dirty="0" smtClean="0">
          <a:solidFill>
            <a:schemeClr val="tx1"/>
          </a:solidFill>
          <a:latin typeface="Calibri Light" charset="0"/>
          <a:ea typeface="Calibri Light" charset="0"/>
          <a:cs typeface="Calibri Light" charset="0"/>
        </a:defRPr>
      </a:lvl1pPr>
    </p:titleStyle>
    <p:bodyStyle>
      <a:lvl1pPr marL="0" indent="0" algn="l" defTabSz="914377" rtl="0" eaLnBrk="1" latinLnBrk="0" hangingPunct="1">
        <a:lnSpc>
          <a:spcPct val="90000"/>
        </a:lnSpc>
        <a:spcBef>
          <a:spcPts val="1000"/>
        </a:spcBef>
        <a:buFont typeface="Arial"/>
        <a:buNone/>
        <a:defRPr sz="2800" b="0" i="0" kern="1200">
          <a:solidFill>
            <a:schemeClr val="tx1"/>
          </a:solidFill>
          <a:latin typeface="+mn-lt"/>
          <a:ea typeface="Calibri Light" charset="0"/>
          <a:cs typeface="Calibri Light" charset="0"/>
        </a:defRPr>
      </a:lvl1pPr>
      <a:lvl2pPr marL="457189" indent="0" algn="l" defTabSz="914377" rtl="0" eaLnBrk="1" latinLnBrk="0" hangingPunct="1">
        <a:lnSpc>
          <a:spcPct val="90000"/>
        </a:lnSpc>
        <a:spcBef>
          <a:spcPts val="500"/>
        </a:spcBef>
        <a:buFont typeface="Arial"/>
        <a:buNone/>
        <a:defRPr sz="2400" b="0" i="0" kern="1200">
          <a:solidFill>
            <a:schemeClr val="tx1"/>
          </a:solidFill>
          <a:latin typeface="+mn-lt"/>
          <a:ea typeface="Calibri Light" charset="0"/>
          <a:cs typeface="Calibri Light" charset="0"/>
        </a:defRPr>
      </a:lvl2pPr>
      <a:lvl3pPr marL="914377" indent="0" algn="l" defTabSz="914377" rtl="0" eaLnBrk="1" latinLnBrk="0" hangingPunct="1">
        <a:lnSpc>
          <a:spcPct val="90000"/>
        </a:lnSpc>
        <a:spcBef>
          <a:spcPts val="500"/>
        </a:spcBef>
        <a:buFont typeface="Arial"/>
        <a:buNone/>
        <a:defRPr sz="2000" b="0" i="0" kern="1200">
          <a:solidFill>
            <a:schemeClr val="tx1"/>
          </a:solidFill>
          <a:latin typeface="+mn-lt"/>
          <a:ea typeface="Calibri Light" charset="0"/>
          <a:cs typeface="Calibri Light" charset="0"/>
        </a:defRPr>
      </a:lvl3pPr>
      <a:lvl4pPr marL="1371566" indent="0" algn="l" defTabSz="914377" rtl="0" eaLnBrk="1" latinLnBrk="0" hangingPunct="1">
        <a:lnSpc>
          <a:spcPct val="90000"/>
        </a:lnSpc>
        <a:spcBef>
          <a:spcPts val="500"/>
        </a:spcBef>
        <a:buFont typeface="Arial"/>
        <a:buNone/>
        <a:defRPr sz="1867" b="0" i="0" kern="1200">
          <a:solidFill>
            <a:schemeClr val="tx1"/>
          </a:solidFill>
          <a:latin typeface="+mn-lt"/>
          <a:ea typeface="Calibri Light" charset="0"/>
          <a:cs typeface="Calibri Light" charset="0"/>
        </a:defRPr>
      </a:lvl4pPr>
      <a:lvl5pPr marL="1828754" indent="0" algn="l" defTabSz="914377" rtl="0" eaLnBrk="1" latinLnBrk="0" hangingPunct="1">
        <a:lnSpc>
          <a:spcPct val="90000"/>
        </a:lnSpc>
        <a:spcBef>
          <a:spcPts val="500"/>
        </a:spcBef>
        <a:buFont typeface="Arial"/>
        <a:buNone/>
        <a:defRPr sz="1867" b="0" i="0" kern="1200">
          <a:solidFill>
            <a:schemeClr val="tx1"/>
          </a:solidFill>
          <a:latin typeface="+mn-lt"/>
          <a:ea typeface="Calibri Light" charset="0"/>
          <a:cs typeface="Calibri Light" charset="0"/>
        </a:defRPr>
      </a:lvl5pPr>
      <a:lvl6pPr marL="2514537" indent="-228594" algn="l" defTabSz="914377" rtl="0" eaLnBrk="1" latinLnBrk="0" hangingPunct="1">
        <a:lnSpc>
          <a:spcPct val="90000"/>
        </a:lnSpc>
        <a:spcBef>
          <a:spcPts val="500"/>
        </a:spcBef>
        <a:buFont typeface="Arial"/>
        <a:buChar char="•"/>
        <a:defRPr sz="1867"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867"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867"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867" kern="1200">
          <a:solidFill>
            <a:schemeClr val="tx1"/>
          </a:solidFill>
          <a:latin typeface="+mn-lt"/>
          <a:ea typeface="+mn-ea"/>
          <a:cs typeface="+mn-cs"/>
        </a:defRPr>
      </a:lvl9pPr>
    </p:bodyStyle>
    <p:otherStyle>
      <a:defPPr>
        <a:defRPr lang="en-US"/>
      </a:defPPr>
      <a:lvl1pPr marL="0" algn="l" defTabSz="914377" rtl="0" eaLnBrk="1" latinLnBrk="0" hangingPunct="1">
        <a:defRPr sz="1867" kern="1200">
          <a:solidFill>
            <a:schemeClr val="tx1"/>
          </a:solidFill>
          <a:latin typeface="+mn-lt"/>
          <a:ea typeface="+mn-ea"/>
          <a:cs typeface="+mn-cs"/>
        </a:defRPr>
      </a:lvl1pPr>
      <a:lvl2pPr marL="457189" algn="l" defTabSz="914377" rtl="0" eaLnBrk="1" latinLnBrk="0" hangingPunct="1">
        <a:defRPr sz="1867" kern="1200">
          <a:solidFill>
            <a:schemeClr val="tx1"/>
          </a:solidFill>
          <a:latin typeface="+mn-lt"/>
          <a:ea typeface="+mn-ea"/>
          <a:cs typeface="+mn-cs"/>
        </a:defRPr>
      </a:lvl2pPr>
      <a:lvl3pPr marL="914377" algn="l" defTabSz="914377" rtl="0" eaLnBrk="1" latinLnBrk="0" hangingPunct="1">
        <a:defRPr sz="1867" kern="1200">
          <a:solidFill>
            <a:schemeClr val="tx1"/>
          </a:solidFill>
          <a:latin typeface="+mn-lt"/>
          <a:ea typeface="+mn-ea"/>
          <a:cs typeface="+mn-cs"/>
        </a:defRPr>
      </a:lvl3pPr>
      <a:lvl4pPr marL="1371566" algn="l" defTabSz="914377" rtl="0" eaLnBrk="1" latinLnBrk="0" hangingPunct="1">
        <a:defRPr sz="1867" kern="1200">
          <a:solidFill>
            <a:schemeClr val="tx1"/>
          </a:solidFill>
          <a:latin typeface="+mn-lt"/>
          <a:ea typeface="+mn-ea"/>
          <a:cs typeface="+mn-cs"/>
        </a:defRPr>
      </a:lvl4pPr>
      <a:lvl5pPr marL="1828754" algn="l" defTabSz="914377" rtl="0" eaLnBrk="1" latinLnBrk="0" hangingPunct="1">
        <a:defRPr sz="1867" kern="1200">
          <a:solidFill>
            <a:schemeClr val="tx1"/>
          </a:solidFill>
          <a:latin typeface="+mn-lt"/>
          <a:ea typeface="+mn-ea"/>
          <a:cs typeface="+mn-cs"/>
        </a:defRPr>
      </a:lvl5pPr>
      <a:lvl6pPr marL="2285943" algn="l" defTabSz="914377" rtl="0" eaLnBrk="1" latinLnBrk="0" hangingPunct="1">
        <a:defRPr sz="1867" kern="1200">
          <a:solidFill>
            <a:schemeClr val="tx1"/>
          </a:solidFill>
          <a:latin typeface="+mn-lt"/>
          <a:ea typeface="+mn-ea"/>
          <a:cs typeface="+mn-cs"/>
        </a:defRPr>
      </a:lvl6pPr>
      <a:lvl7pPr marL="2743131" algn="l" defTabSz="914377" rtl="0" eaLnBrk="1" latinLnBrk="0" hangingPunct="1">
        <a:defRPr sz="1867" kern="1200">
          <a:solidFill>
            <a:schemeClr val="tx1"/>
          </a:solidFill>
          <a:latin typeface="+mn-lt"/>
          <a:ea typeface="+mn-ea"/>
          <a:cs typeface="+mn-cs"/>
        </a:defRPr>
      </a:lvl7pPr>
      <a:lvl8pPr marL="3200320" algn="l" defTabSz="914377" rtl="0" eaLnBrk="1" latinLnBrk="0" hangingPunct="1">
        <a:defRPr sz="1867" kern="1200">
          <a:solidFill>
            <a:schemeClr val="tx1"/>
          </a:solidFill>
          <a:latin typeface="+mn-lt"/>
          <a:ea typeface="+mn-ea"/>
          <a:cs typeface="+mn-cs"/>
        </a:defRPr>
      </a:lvl8pPr>
      <a:lvl9pPr marL="3657509" algn="l" defTabSz="914377" rtl="0" eaLnBrk="1" latinLnBrk="0" hangingPunct="1">
        <a:defRPr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38">
          <p15:clr>
            <a:srgbClr val="F26B43"/>
          </p15:clr>
        </p15:guide>
        <p15:guide id="2" pos="7242">
          <p15:clr>
            <a:srgbClr val="F26B43"/>
          </p15:clr>
        </p15:guide>
        <p15:guide id="3" orient="horz" pos="436">
          <p15:clr>
            <a:srgbClr val="F26B43"/>
          </p15:clr>
        </p15:guide>
        <p15:guide id="4" orient="horz" pos="3884">
          <p15:clr>
            <a:srgbClr val="F26B43"/>
          </p15:clr>
        </p15:guide>
        <p15:guide id="17" orient="horz" pos="799">
          <p15:clr>
            <a:srgbClr val="F26B43"/>
          </p15:clr>
        </p15:guide>
        <p15:guide id="18" pos="37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ru-RU"/>
              <a:t>Образец заголовка</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smtClean="0"/>
              <a:t>3/13/2023</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dirty="0"/>
          </a:p>
        </p:txBody>
      </p:sp>
      <p:graphicFrame>
        <p:nvGraphicFramePr>
          <p:cNvPr id="7" name="Объект 6" hidden="1"/>
          <p:cNvGraphicFramePr>
            <a:graphicFrameLocks noChangeAspect="1"/>
          </p:cNvGraphicFramePr>
          <p:nvPr userDrawn="1">
            <p:custDataLst>
              <p:tags r:id="rId40"/>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41" imgW="395" imgH="396" progId="TCLayout.ActiveDocument.1">
                  <p:embed/>
                </p:oleObj>
              </mc:Choice>
              <mc:Fallback>
                <p:oleObj name="Слайд think-cell" r:id="rId41" imgW="395" imgH="396" progId="TCLayout.ActiveDocument.1">
                  <p:embed/>
                  <p:pic>
                    <p:nvPicPr>
                      <p:cNvPr id="7" name="Объект 6" hidden="1"/>
                      <p:cNvPicPr/>
                      <p:nvPr/>
                    </p:nvPicPr>
                    <p:blipFill>
                      <a:blip r:embed="rId42"/>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649149998"/>
      </p:ext>
    </p:extLst>
  </p:cSld>
  <p:clrMap bg1="lt1" tx1="dk1" bg2="lt2" tx2="dk2" accent1="accent1" accent2="accent2" accent3="accent3" accent4="accent4" accent5="accent5" accent6="accent6" hlink="hlink" folHlink="folHlink"/>
  <p:sldLayoutIdLst>
    <p:sldLayoutId id="2147485411" r:id="rId1"/>
    <p:sldLayoutId id="2147485412" r:id="rId2"/>
    <p:sldLayoutId id="2147485413" r:id="rId3"/>
    <p:sldLayoutId id="2147485414" r:id="rId4"/>
    <p:sldLayoutId id="2147485415" r:id="rId5"/>
    <p:sldLayoutId id="2147485416" r:id="rId6"/>
    <p:sldLayoutId id="2147485417" r:id="rId7"/>
    <p:sldLayoutId id="2147485418" r:id="rId8"/>
    <p:sldLayoutId id="2147485419" r:id="rId9"/>
    <p:sldLayoutId id="2147485420" r:id="rId10"/>
    <p:sldLayoutId id="2147485421" r:id="rId11"/>
    <p:sldLayoutId id="2147485422" r:id="rId12"/>
    <p:sldLayoutId id="2147485425" r:id="rId13"/>
    <p:sldLayoutId id="2147485426" r:id="rId14"/>
    <p:sldLayoutId id="2147485427" r:id="rId15"/>
    <p:sldLayoutId id="2147485428" r:id="rId16"/>
    <p:sldLayoutId id="2147485429" r:id="rId17"/>
    <p:sldLayoutId id="2147485430" r:id="rId18"/>
    <p:sldLayoutId id="2147485431" r:id="rId19"/>
    <p:sldLayoutId id="2147485432" r:id="rId20"/>
    <p:sldLayoutId id="2147485433" r:id="rId21"/>
    <p:sldLayoutId id="2147485434" r:id="rId22"/>
    <p:sldLayoutId id="2147485435" r:id="rId23"/>
    <p:sldLayoutId id="2147485436" r:id="rId24"/>
    <p:sldLayoutId id="2147485437" r:id="rId25"/>
    <p:sldLayoutId id="2147485438" r:id="rId26"/>
    <p:sldLayoutId id="2147485439" r:id="rId27"/>
    <p:sldLayoutId id="2147485440" r:id="rId28"/>
    <p:sldLayoutId id="2147485441" r:id="rId29"/>
    <p:sldLayoutId id="2147485442" r:id="rId30"/>
    <p:sldLayoutId id="2147485443" r:id="rId31"/>
    <p:sldLayoutId id="2147485444" r:id="rId32"/>
    <p:sldLayoutId id="2147485445" r:id="rId33"/>
    <p:sldLayoutId id="2147485446" r:id="rId34"/>
    <p:sldLayoutId id="2147485447" r:id="rId35"/>
    <p:sldLayoutId id="2147485448" r:id="rId36"/>
    <p:sldLayoutId id="2147485449" r:id="rId37"/>
    <p:sldLayoutId id="2147485450" r:id="rId38"/>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2.xml"/></Relationships>
</file>

<file path=ppt/slides/_rels/slide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2.xml"/><Relationship Id="rId5" Type="http://schemas.openxmlformats.org/officeDocument/2006/relationships/image" Target="../media/image49.png"/><Relationship Id="rId4" Type="http://schemas.openxmlformats.org/officeDocument/2006/relationships/image" Target="../media/image48.png"/></Relationships>
</file>

<file path=ppt/slides/_rels/slide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2.png"/><Relationship Id="rId1" Type="http://schemas.openxmlformats.org/officeDocument/2006/relationships/slideLayout" Target="../slideLayouts/slideLayout22.xml"/><Relationship Id="rId4" Type="http://schemas.openxmlformats.org/officeDocument/2006/relationships/image" Target="../media/image4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1</a:t>
            </a:fld>
            <a:endParaRPr lang="en-US" dirty="0"/>
          </a:p>
        </p:txBody>
      </p:sp>
      <p:sp>
        <p:nvSpPr>
          <p:cNvPr id="5" name="TextBox 4">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GB"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FX risk</a:t>
            </a:r>
            <a:r>
              <a:rPr lang="ru-RU"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 - </a:t>
            </a:r>
            <a:r>
              <a:rPr lang="en-US"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definition</a:t>
            </a:r>
          </a:p>
        </p:txBody>
      </p:sp>
      <p:sp>
        <p:nvSpPr>
          <p:cNvPr id="4" name="TextBox 3">
            <a:extLst>
              <a:ext uri="{FF2B5EF4-FFF2-40B4-BE49-F238E27FC236}">
                <a16:creationId xmlns:a16="http://schemas.microsoft.com/office/drawing/2014/main" id="{78C03241-F245-4623-A41A-659673385123}"/>
              </a:ext>
            </a:extLst>
          </p:cNvPr>
          <p:cNvSpPr txBox="1"/>
          <p:nvPr/>
        </p:nvSpPr>
        <p:spPr>
          <a:xfrm>
            <a:off x="381959" y="796706"/>
            <a:ext cx="11425342" cy="707886"/>
          </a:xfrm>
          <a:prstGeom prst="rect">
            <a:avLst/>
          </a:prstGeom>
          <a:noFill/>
        </p:spPr>
        <p:txBody>
          <a:bodyPr wrap="square" rtlCol="0">
            <a:spAutoFit/>
          </a:bodyPr>
          <a:lstStyle/>
          <a:p>
            <a:r>
              <a:rPr lang="en-US" sz="2000" b="0" i="0" dirty="0">
                <a:effectLst/>
                <a:latin typeface="Arial" panose="020B0604020202020204" pitchFamily="34" charset="0"/>
                <a:cs typeface="Arial" panose="020B0604020202020204" pitchFamily="34" charset="0"/>
              </a:rPr>
              <a:t>FX (Forex) risk - potential financial losses that an investor may face due to fluctuations in currency exchange rates.</a:t>
            </a:r>
            <a:endParaRPr lang="en-US" sz="2000" dirty="0">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B92C187B-413D-70B8-CA90-B7ABC467666C}"/>
              </a:ext>
            </a:extLst>
          </p:cNvPr>
          <p:cNvSpPr txBox="1"/>
          <p:nvPr/>
        </p:nvSpPr>
        <p:spPr>
          <a:xfrm>
            <a:off x="506024" y="2010773"/>
            <a:ext cx="1393703" cy="369332"/>
          </a:xfrm>
          <a:prstGeom prst="rect">
            <a:avLst/>
          </a:prstGeom>
          <a:noFill/>
          <a:ln w="19050">
            <a:solidFill>
              <a:schemeClr val="accent1"/>
            </a:solidFill>
          </a:ln>
        </p:spPr>
        <p:txBody>
          <a:bodyPr wrap="square" rtlCol="0">
            <a:spAutoFit/>
          </a:bodyPr>
          <a:lstStyle/>
          <a:p>
            <a:pPr algn="ctr"/>
            <a:r>
              <a:rPr lang="en-US" b="1" dirty="0"/>
              <a:t>Assets*</a:t>
            </a:r>
            <a:endParaRPr lang="en-NL" b="1" dirty="0"/>
          </a:p>
        </p:txBody>
      </p:sp>
      <p:sp>
        <p:nvSpPr>
          <p:cNvPr id="8" name="TextBox 7">
            <a:extLst>
              <a:ext uri="{FF2B5EF4-FFF2-40B4-BE49-F238E27FC236}">
                <a16:creationId xmlns:a16="http://schemas.microsoft.com/office/drawing/2014/main" id="{98AD30FC-4CF9-3888-369C-17272652FF02}"/>
              </a:ext>
            </a:extLst>
          </p:cNvPr>
          <p:cNvSpPr txBox="1"/>
          <p:nvPr/>
        </p:nvSpPr>
        <p:spPr>
          <a:xfrm>
            <a:off x="2207789" y="2010773"/>
            <a:ext cx="1487973" cy="369332"/>
          </a:xfrm>
          <a:prstGeom prst="rect">
            <a:avLst/>
          </a:prstGeom>
          <a:noFill/>
          <a:ln w="19050">
            <a:solidFill>
              <a:schemeClr val="accent1"/>
            </a:solidFill>
          </a:ln>
        </p:spPr>
        <p:txBody>
          <a:bodyPr wrap="square" rtlCol="0">
            <a:spAutoFit/>
          </a:bodyPr>
          <a:lstStyle/>
          <a:p>
            <a:pPr algn="ctr"/>
            <a:r>
              <a:rPr lang="en-US" b="1" dirty="0"/>
              <a:t>Liabilities*</a:t>
            </a:r>
            <a:endParaRPr lang="en-NL" b="1" dirty="0"/>
          </a:p>
        </p:txBody>
      </p:sp>
      <p:sp>
        <p:nvSpPr>
          <p:cNvPr id="9" name="TextBox 8">
            <a:extLst>
              <a:ext uri="{FF2B5EF4-FFF2-40B4-BE49-F238E27FC236}">
                <a16:creationId xmlns:a16="http://schemas.microsoft.com/office/drawing/2014/main" id="{08727B74-27B0-22CE-3B6E-9562BE9E3456}"/>
              </a:ext>
            </a:extLst>
          </p:cNvPr>
          <p:cNvSpPr txBox="1">
            <a:spLocks/>
          </p:cNvSpPr>
          <p:nvPr/>
        </p:nvSpPr>
        <p:spPr>
          <a:xfrm>
            <a:off x="506024" y="2555172"/>
            <a:ext cx="1393703" cy="1389782"/>
          </a:xfrm>
          <a:prstGeom prst="rect">
            <a:avLst/>
          </a:prstGeom>
          <a:noFill/>
          <a:ln w="19050">
            <a:solidFill>
              <a:schemeClr val="accent1"/>
            </a:solidFill>
          </a:ln>
        </p:spPr>
        <p:txBody>
          <a:bodyPr wrap="square" rtlCol="0" anchor="ctr">
            <a:noAutofit/>
          </a:bodyPr>
          <a:lstStyle/>
          <a:p>
            <a:pPr algn="ctr"/>
            <a:r>
              <a:rPr lang="en-US" dirty="0"/>
              <a:t>Loan 100$ (7000 rub)</a:t>
            </a:r>
            <a:endParaRPr lang="en-NL" dirty="0"/>
          </a:p>
        </p:txBody>
      </p:sp>
      <p:sp>
        <p:nvSpPr>
          <p:cNvPr id="10" name="TextBox 9">
            <a:extLst>
              <a:ext uri="{FF2B5EF4-FFF2-40B4-BE49-F238E27FC236}">
                <a16:creationId xmlns:a16="http://schemas.microsoft.com/office/drawing/2014/main" id="{FF5DB1F7-930B-EDDA-0D19-EED893810C0D}"/>
              </a:ext>
            </a:extLst>
          </p:cNvPr>
          <p:cNvSpPr txBox="1">
            <a:spLocks/>
          </p:cNvSpPr>
          <p:nvPr/>
        </p:nvSpPr>
        <p:spPr>
          <a:xfrm>
            <a:off x="506024" y="4120967"/>
            <a:ext cx="1393703" cy="1389782"/>
          </a:xfrm>
          <a:prstGeom prst="rect">
            <a:avLst/>
          </a:prstGeom>
          <a:noFill/>
          <a:ln w="19050">
            <a:solidFill>
              <a:schemeClr val="accent1"/>
            </a:solidFill>
          </a:ln>
        </p:spPr>
        <p:txBody>
          <a:bodyPr wrap="square" rtlCol="0" anchor="ctr">
            <a:noAutofit/>
          </a:bodyPr>
          <a:lstStyle/>
          <a:p>
            <a:pPr algn="ctr"/>
            <a:r>
              <a:rPr lang="en-US" dirty="0"/>
              <a:t>Loan 7000 rub</a:t>
            </a:r>
            <a:endParaRPr lang="en-NL" dirty="0"/>
          </a:p>
        </p:txBody>
      </p:sp>
      <p:sp>
        <p:nvSpPr>
          <p:cNvPr id="11" name="TextBox 10">
            <a:extLst>
              <a:ext uri="{FF2B5EF4-FFF2-40B4-BE49-F238E27FC236}">
                <a16:creationId xmlns:a16="http://schemas.microsoft.com/office/drawing/2014/main" id="{FE84E491-2E3E-F076-8800-9CC6A0243E21}"/>
              </a:ext>
            </a:extLst>
          </p:cNvPr>
          <p:cNvSpPr txBox="1">
            <a:spLocks/>
          </p:cNvSpPr>
          <p:nvPr/>
        </p:nvSpPr>
        <p:spPr>
          <a:xfrm>
            <a:off x="2207788" y="2555173"/>
            <a:ext cx="1487973" cy="707886"/>
          </a:xfrm>
          <a:prstGeom prst="rect">
            <a:avLst/>
          </a:prstGeom>
          <a:noFill/>
          <a:ln w="19050">
            <a:solidFill>
              <a:schemeClr val="accent1"/>
            </a:solidFill>
          </a:ln>
        </p:spPr>
        <p:txBody>
          <a:bodyPr wrap="square" rtlCol="0" anchor="ctr">
            <a:noAutofit/>
          </a:bodyPr>
          <a:lstStyle/>
          <a:p>
            <a:pPr algn="ctr"/>
            <a:r>
              <a:rPr lang="en-US" dirty="0"/>
              <a:t>Deposit 80$ (5600 rub)</a:t>
            </a:r>
            <a:endParaRPr lang="en-NL" dirty="0"/>
          </a:p>
        </p:txBody>
      </p:sp>
      <p:sp>
        <p:nvSpPr>
          <p:cNvPr id="12" name="TextBox 11">
            <a:extLst>
              <a:ext uri="{FF2B5EF4-FFF2-40B4-BE49-F238E27FC236}">
                <a16:creationId xmlns:a16="http://schemas.microsoft.com/office/drawing/2014/main" id="{61779362-3CE2-B323-106A-6B0010EA9BA4}"/>
              </a:ext>
            </a:extLst>
          </p:cNvPr>
          <p:cNvSpPr txBox="1">
            <a:spLocks/>
          </p:cNvSpPr>
          <p:nvPr/>
        </p:nvSpPr>
        <p:spPr>
          <a:xfrm>
            <a:off x="2207788" y="3394159"/>
            <a:ext cx="1487973" cy="1094720"/>
          </a:xfrm>
          <a:prstGeom prst="rect">
            <a:avLst/>
          </a:prstGeom>
          <a:noFill/>
          <a:ln w="19050">
            <a:solidFill>
              <a:schemeClr val="accent1"/>
            </a:solidFill>
          </a:ln>
        </p:spPr>
        <p:txBody>
          <a:bodyPr wrap="square" rtlCol="0" anchor="ctr">
            <a:noAutofit/>
          </a:bodyPr>
          <a:lstStyle/>
          <a:p>
            <a:pPr algn="ctr"/>
            <a:r>
              <a:rPr lang="en-US" dirty="0"/>
              <a:t>Deposit 6400 rub</a:t>
            </a:r>
            <a:endParaRPr lang="en-NL" dirty="0"/>
          </a:p>
        </p:txBody>
      </p:sp>
      <p:sp>
        <p:nvSpPr>
          <p:cNvPr id="13" name="TextBox 12">
            <a:extLst>
              <a:ext uri="{FF2B5EF4-FFF2-40B4-BE49-F238E27FC236}">
                <a16:creationId xmlns:a16="http://schemas.microsoft.com/office/drawing/2014/main" id="{42BEA243-57AF-1857-F033-050392852667}"/>
              </a:ext>
            </a:extLst>
          </p:cNvPr>
          <p:cNvSpPr txBox="1">
            <a:spLocks/>
          </p:cNvSpPr>
          <p:nvPr/>
        </p:nvSpPr>
        <p:spPr>
          <a:xfrm>
            <a:off x="2207788" y="4610216"/>
            <a:ext cx="1487973" cy="900533"/>
          </a:xfrm>
          <a:prstGeom prst="rect">
            <a:avLst/>
          </a:prstGeom>
          <a:noFill/>
          <a:ln w="19050">
            <a:solidFill>
              <a:schemeClr val="accent1"/>
            </a:solidFill>
          </a:ln>
        </p:spPr>
        <p:txBody>
          <a:bodyPr wrap="square" rtlCol="0" anchor="ctr">
            <a:noAutofit/>
          </a:bodyPr>
          <a:lstStyle/>
          <a:p>
            <a:pPr algn="ctr"/>
            <a:r>
              <a:rPr lang="en-US" dirty="0"/>
              <a:t>Capital 2000 rub</a:t>
            </a:r>
            <a:endParaRPr lang="en-NL" dirty="0"/>
          </a:p>
        </p:txBody>
      </p:sp>
      <p:sp>
        <p:nvSpPr>
          <p:cNvPr id="14" name="TextBox 13">
            <a:extLst>
              <a:ext uri="{FF2B5EF4-FFF2-40B4-BE49-F238E27FC236}">
                <a16:creationId xmlns:a16="http://schemas.microsoft.com/office/drawing/2014/main" id="{299129AD-8C23-97F4-E8F8-7B1C2CC60C32}"/>
              </a:ext>
            </a:extLst>
          </p:cNvPr>
          <p:cNvSpPr txBox="1"/>
          <p:nvPr/>
        </p:nvSpPr>
        <p:spPr>
          <a:xfrm>
            <a:off x="585926" y="6356350"/>
            <a:ext cx="4438561" cy="307777"/>
          </a:xfrm>
          <a:prstGeom prst="rect">
            <a:avLst/>
          </a:prstGeom>
          <a:noFill/>
        </p:spPr>
        <p:txBody>
          <a:bodyPr wrap="square" rtlCol="0">
            <a:spAutoFit/>
          </a:bodyPr>
          <a:lstStyle/>
          <a:p>
            <a:r>
              <a:rPr lang="en-US" sz="1400" dirty="0"/>
              <a:t>*FX rate 1$=70rub</a:t>
            </a:r>
            <a:endParaRPr lang="en-NL" sz="1400" dirty="0"/>
          </a:p>
        </p:txBody>
      </p:sp>
      <p:sp>
        <p:nvSpPr>
          <p:cNvPr id="15" name="Arrow: Right 14">
            <a:extLst>
              <a:ext uri="{FF2B5EF4-FFF2-40B4-BE49-F238E27FC236}">
                <a16:creationId xmlns:a16="http://schemas.microsoft.com/office/drawing/2014/main" id="{27336216-58E3-11E0-7A9D-B38DA0C15852}"/>
              </a:ext>
            </a:extLst>
          </p:cNvPr>
          <p:cNvSpPr/>
          <p:nvPr/>
        </p:nvSpPr>
        <p:spPr>
          <a:xfrm>
            <a:off x="3848505" y="3573077"/>
            <a:ext cx="696855" cy="48496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16" name="TextBox 15">
            <a:extLst>
              <a:ext uri="{FF2B5EF4-FFF2-40B4-BE49-F238E27FC236}">
                <a16:creationId xmlns:a16="http://schemas.microsoft.com/office/drawing/2014/main" id="{14324691-9423-0313-8897-96B9C1A2191A}"/>
              </a:ext>
            </a:extLst>
          </p:cNvPr>
          <p:cNvSpPr txBox="1">
            <a:spLocks/>
          </p:cNvSpPr>
          <p:nvPr/>
        </p:nvSpPr>
        <p:spPr>
          <a:xfrm>
            <a:off x="4618204" y="1269506"/>
            <a:ext cx="7446549" cy="5175682"/>
          </a:xfrm>
          <a:prstGeom prst="rect">
            <a:avLst/>
          </a:prstGeom>
          <a:noFill/>
          <a:ln w="19050">
            <a:solidFill>
              <a:schemeClr val="accent1"/>
            </a:solidFill>
          </a:ln>
        </p:spPr>
        <p:txBody>
          <a:bodyPr wrap="square" rtlCol="0" anchor="ctr">
            <a:noAutofit/>
          </a:bodyPr>
          <a:lstStyle/>
          <a:p>
            <a:r>
              <a:rPr lang="en-US" sz="1700" dirty="0"/>
              <a:t>What if the FX rate changes from 1$=70rub to 1$=7</a:t>
            </a:r>
            <a:r>
              <a:rPr lang="ru-RU" sz="1700" dirty="0"/>
              <a:t>2</a:t>
            </a:r>
            <a:r>
              <a:rPr lang="en-US" sz="1700" dirty="0"/>
              <a:t>rub:</a:t>
            </a:r>
          </a:p>
          <a:p>
            <a:pPr marL="342900" indent="-342900">
              <a:buFont typeface="+mj-lt"/>
              <a:buAutoNum type="arabicPeriod"/>
            </a:pPr>
            <a:r>
              <a:rPr lang="en-US" sz="1700" b="1" dirty="0"/>
              <a:t>Financial result:</a:t>
            </a:r>
            <a:r>
              <a:rPr lang="en-US" sz="1700" dirty="0"/>
              <a:t> OCP in $ (open currency position) = 100-80</a:t>
            </a:r>
            <a:r>
              <a:rPr lang="ru-RU" sz="1700" dirty="0"/>
              <a:t> </a:t>
            </a:r>
            <a:r>
              <a:rPr lang="en-US" sz="1700" dirty="0"/>
              <a:t>= +20$;  PL</a:t>
            </a:r>
            <a:r>
              <a:rPr lang="ru-RU" sz="1700" dirty="0">
                <a:solidFill>
                  <a:schemeClr val="bg1">
                    <a:lumMod val="75000"/>
                  </a:schemeClr>
                </a:solidFill>
              </a:rPr>
              <a:t>=</a:t>
            </a:r>
            <a:r>
              <a:rPr lang="en-US" sz="1700" dirty="0">
                <a:solidFill>
                  <a:schemeClr val="bg1">
                    <a:lumMod val="75000"/>
                  </a:schemeClr>
                </a:solidFill>
              </a:rPr>
              <a:t>+20$*(7</a:t>
            </a:r>
            <a:r>
              <a:rPr lang="ru-RU" sz="1700" dirty="0">
                <a:solidFill>
                  <a:schemeClr val="bg1">
                    <a:lumMod val="75000"/>
                  </a:schemeClr>
                </a:solidFill>
              </a:rPr>
              <a:t>2</a:t>
            </a:r>
            <a:r>
              <a:rPr lang="en-US" sz="1700" dirty="0">
                <a:solidFill>
                  <a:schemeClr val="bg1">
                    <a:lumMod val="75000"/>
                  </a:schemeClr>
                </a:solidFill>
              </a:rPr>
              <a:t>-70) </a:t>
            </a:r>
            <a:r>
              <a:rPr lang="en-US" sz="1700" dirty="0"/>
              <a:t>= </a:t>
            </a:r>
            <a:r>
              <a:rPr lang="ru-RU" sz="1700" dirty="0"/>
              <a:t>4</a:t>
            </a:r>
            <a:r>
              <a:rPr lang="en-US" sz="1700" dirty="0"/>
              <a:t>0rub gain;</a:t>
            </a:r>
          </a:p>
          <a:p>
            <a:pPr marL="342900" indent="-342900">
              <a:buFont typeface="+mj-lt"/>
              <a:buAutoNum type="arabicPeriod"/>
            </a:pPr>
            <a:r>
              <a:rPr lang="en-US" sz="1700" b="1" dirty="0"/>
              <a:t>RWA credit risk:</a:t>
            </a:r>
            <a:r>
              <a:rPr lang="en-US" sz="1700" dirty="0"/>
              <a:t> if RW=100%, RWA increase from 14 000rub to </a:t>
            </a:r>
            <a:r>
              <a:rPr lang="ru-RU" sz="1700" dirty="0">
                <a:solidFill>
                  <a:schemeClr val="bg1">
                    <a:lumMod val="75000"/>
                  </a:schemeClr>
                </a:solidFill>
              </a:rPr>
              <a:t>7000+100*72=</a:t>
            </a:r>
            <a:r>
              <a:rPr lang="en-US" sz="1700" dirty="0"/>
              <a:t>14 200rub;</a:t>
            </a:r>
            <a:endParaRPr lang="en-US" sz="1700" dirty="0">
              <a:solidFill>
                <a:schemeClr val="bg1">
                  <a:lumMod val="75000"/>
                </a:schemeClr>
              </a:solidFill>
            </a:endParaRPr>
          </a:p>
          <a:p>
            <a:pPr marL="342900" indent="-342900">
              <a:buFont typeface="+mj-lt"/>
              <a:buAutoNum type="arabicPeriod"/>
            </a:pPr>
            <a:r>
              <a:rPr lang="en-US" sz="1700" b="1" dirty="0"/>
              <a:t>RWA market risk</a:t>
            </a:r>
            <a:r>
              <a:rPr lang="en-US" sz="1700" dirty="0"/>
              <a:t>: +</a:t>
            </a:r>
            <a:r>
              <a:rPr lang="ru-RU" sz="1700" dirty="0"/>
              <a:t>20</a:t>
            </a:r>
            <a:r>
              <a:rPr lang="en-US" sz="1700" dirty="0"/>
              <a:t>$</a:t>
            </a:r>
            <a:r>
              <a:rPr lang="ru-RU" sz="1700" dirty="0"/>
              <a:t>*</a:t>
            </a:r>
            <a:r>
              <a:rPr lang="en-US" sz="1700" dirty="0"/>
              <a:t>8%=1,6$. Increase from </a:t>
            </a:r>
            <a:r>
              <a:rPr lang="en-US" sz="1700" dirty="0">
                <a:solidFill>
                  <a:schemeClr val="bg1">
                    <a:lumMod val="75000"/>
                  </a:schemeClr>
                </a:solidFill>
              </a:rPr>
              <a:t>1,6$*70 =</a:t>
            </a:r>
            <a:r>
              <a:rPr lang="en-US" sz="1700" dirty="0"/>
              <a:t> 113,5rub to</a:t>
            </a:r>
            <a:r>
              <a:rPr lang="en-US" sz="1700" dirty="0">
                <a:solidFill>
                  <a:schemeClr val="bg1">
                    <a:lumMod val="75000"/>
                  </a:schemeClr>
                </a:solidFill>
              </a:rPr>
              <a:t> 1,6$*72 = </a:t>
            </a:r>
            <a:r>
              <a:rPr lang="en-US" sz="1700" dirty="0"/>
              <a:t>115,2rub</a:t>
            </a:r>
          </a:p>
          <a:p>
            <a:pPr marL="342900" indent="-342900">
              <a:buFont typeface="+mj-lt"/>
              <a:buAutoNum type="arabicPeriod"/>
            </a:pPr>
            <a:r>
              <a:rPr lang="en-US" sz="1700" b="1" dirty="0"/>
              <a:t>Liquidity: </a:t>
            </a:r>
            <a:r>
              <a:rPr lang="en-US" sz="1700" dirty="0"/>
              <a:t>in this case, we have a positive effect on physical and regulatory liquidity metrics</a:t>
            </a:r>
          </a:p>
          <a:p>
            <a:pPr marL="342900" indent="-342900">
              <a:buFont typeface="+mj-lt"/>
              <a:buAutoNum type="arabicPeriod"/>
            </a:pPr>
            <a:r>
              <a:rPr lang="en-US" sz="1700" b="1" dirty="0"/>
              <a:t>Deposit insurance: </a:t>
            </a:r>
            <a:r>
              <a:rPr lang="en-US" sz="1700" dirty="0"/>
              <a:t>increase in FX rate leads to an increase of quarterly insurance payments from </a:t>
            </a:r>
            <a:r>
              <a:rPr lang="en-US" sz="1700" dirty="0">
                <a:solidFill>
                  <a:schemeClr val="bg1">
                    <a:lumMod val="75000"/>
                  </a:schemeClr>
                </a:solidFill>
              </a:rPr>
              <a:t>5600*0,12%=</a:t>
            </a:r>
            <a:r>
              <a:rPr lang="en-US" sz="1700" dirty="0"/>
              <a:t> 6,72rub to </a:t>
            </a:r>
            <a:r>
              <a:rPr lang="en-US" sz="1700" dirty="0">
                <a:solidFill>
                  <a:schemeClr val="bg1">
                    <a:lumMod val="75000"/>
                  </a:schemeClr>
                </a:solidFill>
              </a:rPr>
              <a:t>5760*0,12%=</a:t>
            </a:r>
            <a:r>
              <a:rPr lang="en-US" sz="1700" dirty="0"/>
              <a:t> 6,91rub</a:t>
            </a:r>
          </a:p>
          <a:p>
            <a:endParaRPr lang="en-US" sz="1700" dirty="0"/>
          </a:p>
          <a:p>
            <a:r>
              <a:rPr lang="en-US" sz="1700" dirty="0"/>
              <a:t>What if the FX rate changes from 1$=70rub to 1$=45rub?</a:t>
            </a:r>
            <a:endParaRPr lang="en-US" sz="1700" b="1" dirty="0"/>
          </a:p>
          <a:p>
            <a:pPr marL="342900" indent="-342900">
              <a:buAutoNum type="arabicPeriod" startAt="6"/>
            </a:pPr>
            <a:r>
              <a:rPr lang="en-US" sz="1700" b="1" dirty="0"/>
              <a:t>Stress test: </a:t>
            </a:r>
            <a:r>
              <a:rPr lang="en-US" sz="1700" dirty="0"/>
              <a:t>PL</a:t>
            </a:r>
            <a:r>
              <a:rPr lang="en-US" sz="1700" dirty="0">
                <a:solidFill>
                  <a:schemeClr val="bg1">
                    <a:lumMod val="75000"/>
                  </a:schemeClr>
                </a:solidFill>
              </a:rPr>
              <a:t>=+20$*(45-70)=</a:t>
            </a:r>
            <a:r>
              <a:rPr lang="en-US" sz="1700" dirty="0"/>
              <a:t> -500 rub loss. Can be calculated based on VAR.</a:t>
            </a:r>
          </a:p>
          <a:p>
            <a:endParaRPr lang="en-US" sz="1700" dirty="0"/>
          </a:p>
          <a:p>
            <a:r>
              <a:rPr lang="en-US" sz="1700" dirty="0"/>
              <a:t>What if the FX rate changes from 1$=70rub to 1$=145rub?</a:t>
            </a:r>
          </a:p>
          <a:p>
            <a:r>
              <a:rPr lang="en-US" sz="1700" b="1" dirty="0"/>
              <a:t>7.    Correlation with credit risk</a:t>
            </a:r>
            <a:r>
              <a:rPr lang="en-US" sz="1700" dirty="0"/>
              <a:t>: Borrowers may not be able to repay their debts. The bank will be forced to either convert loans in rub by favorable rate or charge provisions because of deterioration of credit quality. Note that the bank still needs to repay its liabilities according to contractual terms.</a:t>
            </a:r>
            <a:endParaRPr lang="en-NL" sz="1700" dirty="0"/>
          </a:p>
        </p:txBody>
      </p:sp>
    </p:spTree>
    <p:extLst>
      <p:ext uri="{BB962C8B-B14F-4D97-AF65-F5344CB8AC3E}">
        <p14:creationId xmlns:p14="http://schemas.microsoft.com/office/powerpoint/2010/main" val="14552950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2</a:t>
            </a:fld>
            <a:endParaRPr lang="en-US" dirty="0"/>
          </a:p>
        </p:txBody>
      </p:sp>
      <p:sp>
        <p:nvSpPr>
          <p:cNvPr id="5" name="TextBox 4">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1. OCP – Open currency position</a:t>
            </a:r>
          </a:p>
        </p:txBody>
      </p:sp>
      <p:sp>
        <p:nvSpPr>
          <p:cNvPr id="3" name="TextBox 2">
            <a:extLst>
              <a:ext uri="{FF2B5EF4-FFF2-40B4-BE49-F238E27FC236}">
                <a16:creationId xmlns:a16="http://schemas.microsoft.com/office/drawing/2014/main" id="{9C25316E-B3AB-082E-01EF-4F7BF463EC29}"/>
              </a:ext>
            </a:extLst>
          </p:cNvPr>
          <p:cNvSpPr txBox="1"/>
          <p:nvPr/>
        </p:nvSpPr>
        <p:spPr>
          <a:xfrm>
            <a:off x="452021" y="896646"/>
            <a:ext cx="5726837" cy="5355312"/>
          </a:xfrm>
          <a:prstGeom prst="rect">
            <a:avLst/>
          </a:prstGeom>
          <a:noFill/>
        </p:spPr>
        <p:txBody>
          <a:bodyPr wrap="square" rtlCol="0">
            <a:spAutoFit/>
          </a:bodyPr>
          <a:lstStyle/>
          <a:p>
            <a:r>
              <a:rPr lang="en-US" b="1" dirty="0"/>
              <a:t>Components included in calculation of OCP </a:t>
            </a:r>
            <a:r>
              <a:rPr lang="en-US" dirty="0"/>
              <a:t>(pls find the calculation in illustrative example)</a:t>
            </a:r>
            <a:r>
              <a:rPr lang="en-US" b="1" dirty="0"/>
              <a:t>:</a:t>
            </a:r>
          </a:p>
          <a:p>
            <a:r>
              <a:rPr lang="en-US" dirty="0"/>
              <a:t>- Assets (Loans, Nostro) minus provisions</a:t>
            </a:r>
          </a:p>
          <a:p>
            <a:r>
              <a:rPr lang="en-US" dirty="0"/>
              <a:t>- Deposits, CA and other liabilities</a:t>
            </a:r>
          </a:p>
          <a:p>
            <a:r>
              <a:rPr lang="en-US" dirty="0"/>
              <a:t>- Spot and forward deals</a:t>
            </a:r>
          </a:p>
          <a:p>
            <a:r>
              <a:rPr lang="en-US" dirty="0"/>
              <a:t>- Guarantees provided in FX with conversion factor</a:t>
            </a:r>
          </a:p>
          <a:p>
            <a:endParaRPr lang="en-US" dirty="0"/>
          </a:p>
          <a:p>
            <a:r>
              <a:rPr lang="en-US" b="1" dirty="0"/>
              <a:t>The common approach of OCP management:</a:t>
            </a:r>
          </a:p>
          <a:p>
            <a:endParaRPr lang="en-US" b="1" dirty="0"/>
          </a:p>
          <a:p>
            <a:r>
              <a:rPr lang="en-US" dirty="0"/>
              <a:t>1. OCP of banking book ~0</a:t>
            </a:r>
          </a:p>
          <a:p>
            <a:r>
              <a:rPr lang="en-US" dirty="0"/>
              <a:t>The idea is that banking book represents a core banking activity and should generate stable income, not speculating income.</a:t>
            </a:r>
          </a:p>
          <a:p>
            <a:endParaRPr lang="en-US" dirty="0"/>
          </a:p>
          <a:p>
            <a:r>
              <a:rPr lang="en-US" dirty="0"/>
              <a:t>2. OCP of trading book depend on trading strategy </a:t>
            </a:r>
          </a:p>
          <a:p>
            <a:endParaRPr lang="en-US" dirty="0"/>
          </a:p>
          <a:p>
            <a:r>
              <a:rPr lang="en-US" dirty="0"/>
              <a:t>3. Total OCP of the bank could be limited by the local regulations. Local central bank may have the specific rules in place which penalize banks for having OCP.</a:t>
            </a:r>
          </a:p>
        </p:txBody>
      </p:sp>
      <p:sp>
        <p:nvSpPr>
          <p:cNvPr id="6" name="TextBox 5">
            <a:extLst>
              <a:ext uri="{FF2B5EF4-FFF2-40B4-BE49-F238E27FC236}">
                <a16:creationId xmlns:a16="http://schemas.microsoft.com/office/drawing/2014/main" id="{4256760A-E8FF-18D7-3DBF-CAB422522783}"/>
              </a:ext>
            </a:extLst>
          </p:cNvPr>
          <p:cNvSpPr txBox="1"/>
          <p:nvPr/>
        </p:nvSpPr>
        <p:spPr>
          <a:xfrm>
            <a:off x="11195824" y="213126"/>
            <a:ext cx="849030" cy="477054"/>
          </a:xfrm>
          <a:prstGeom prst="rect">
            <a:avLst/>
          </a:prstGeom>
          <a:noFill/>
          <a:ln>
            <a:solidFill>
              <a:srgbClr val="FF0000"/>
            </a:solidFill>
          </a:ln>
        </p:spPr>
        <p:txBody>
          <a:bodyPr wrap="square" rtlCol="0">
            <a:spAutoFit/>
          </a:bodyPr>
          <a:lstStyle/>
          <a:p>
            <a:pPr algn="ctr"/>
            <a:r>
              <a:rPr lang="en-US" sz="2500" b="1" dirty="0">
                <a:solidFill>
                  <a:srgbClr val="FF0000"/>
                </a:solidFill>
              </a:rPr>
              <a:t>IE6.1</a:t>
            </a:r>
            <a:endParaRPr lang="ru-RU" sz="2500" b="1" dirty="0">
              <a:solidFill>
                <a:srgbClr val="FF0000"/>
              </a:solidFill>
            </a:endParaRPr>
          </a:p>
        </p:txBody>
      </p:sp>
      <p:graphicFrame>
        <p:nvGraphicFramePr>
          <p:cNvPr id="7" name="Chart 6">
            <a:extLst>
              <a:ext uri="{FF2B5EF4-FFF2-40B4-BE49-F238E27FC236}">
                <a16:creationId xmlns:a16="http://schemas.microsoft.com/office/drawing/2014/main" id="{C2A4BFA7-5F0B-D975-5558-8318BD22FFF9}"/>
              </a:ext>
            </a:extLst>
          </p:cNvPr>
          <p:cNvGraphicFramePr>
            <a:graphicFrameLocks/>
          </p:cNvGraphicFramePr>
          <p:nvPr>
            <p:extLst>
              <p:ext uri="{D42A27DB-BD31-4B8C-83A1-F6EECF244321}">
                <p14:modId xmlns:p14="http://schemas.microsoft.com/office/powerpoint/2010/main" val="2182572153"/>
              </p:ext>
            </p:extLst>
          </p:nvPr>
        </p:nvGraphicFramePr>
        <p:xfrm>
          <a:off x="6391922" y="1543329"/>
          <a:ext cx="5348057" cy="4307056"/>
        </p:xfrm>
        <a:graphic>
          <a:graphicData uri="http://schemas.openxmlformats.org/drawingml/2006/chart">
            <c:chart xmlns:c="http://schemas.openxmlformats.org/drawingml/2006/chart" xmlns:r="http://schemas.openxmlformats.org/officeDocument/2006/relationships" r:id="rId2"/>
          </a:graphicData>
        </a:graphic>
      </p:graphicFrame>
      <p:sp>
        <p:nvSpPr>
          <p:cNvPr id="9" name="TextBox 8">
            <a:extLst>
              <a:ext uri="{FF2B5EF4-FFF2-40B4-BE49-F238E27FC236}">
                <a16:creationId xmlns:a16="http://schemas.microsoft.com/office/drawing/2014/main" id="{3AC16AE1-1741-D0FE-4DAC-7815CCDFCB52}"/>
              </a:ext>
            </a:extLst>
          </p:cNvPr>
          <p:cNvSpPr txBox="1"/>
          <p:nvPr/>
        </p:nvSpPr>
        <p:spPr>
          <a:xfrm>
            <a:off x="6391922" y="896646"/>
            <a:ext cx="5800078" cy="369332"/>
          </a:xfrm>
          <a:prstGeom prst="rect">
            <a:avLst/>
          </a:prstGeom>
          <a:noFill/>
        </p:spPr>
        <p:txBody>
          <a:bodyPr wrap="square">
            <a:spAutoFit/>
          </a:bodyPr>
          <a:lstStyle/>
          <a:p>
            <a:r>
              <a:rPr lang="en-US" sz="1800" b="1" dirty="0"/>
              <a:t>Reporting the OCP to the top management:</a:t>
            </a:r>
            <a:endParaRPr lang="en-NL" sz="1800" b="1" dirty="0"/>
          </a:p>
        </p:txBody>
      </p:sp>
      <p:cxnSp>
        <p:nvCxnSpPr>
          <p:cNvPr id="11" name="Straight Connector 10">
            <a:extLst>
              <a:ext uri="{FF2B5EF4-FFF2-40B4-BE49-F238E27FC236}">
                <a16:creationId xmlns:a16="http://schemas.microsoft.com/office/drawing/2014/main" id="{228E5371-643F-114E-2651-C393A3401C07}"/>
              </a:ext>
            </a:extLst>
          </p:cNvPr>
          <p:cNvCxnSpPr/>
          <p:nvPr/>
        </p:nvCxnSpPr>
        <p:spPr>
          <a:xfrm>
            <a:off x="6261718" y="1029810"/>
            <a:ext cx="0" cy="5175682"/>
          </a:xfrm>
          <a:prstGeom prst="line">
            <a:avLst/>
          </a:prstGeom>
          <a:ln>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59739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3</a:t>
            </a:fld>
            <a:endParaRPr lang="en-US" dirty="0"/>
          </a:p>
        </p:txBody>
      </p:sp>
      <p:sp>
        <p:nvSpPr>
          <p:cNvPr id="5" name="TextBox 4">
            <a:extLst>
              <a:ext uri="{FF2B5EF4-FFF2-40B4-BE49-F238E27FC236}">
                <a16:creationId xmlns:a16="http://schemas.microsoft.com/office/drawing/2014/main" id="{81BD1123-3626-1C45-BF5B-1C1864FA8AFA}"/>
              </a:ext>
            </a:extLst>
          </p:cNvPr>
          <p:cNvSpPr txBox="1"/>
          <p:nvPr/>
        </p:nvSpPr>
        <p:spPr>
          <a:xfrm>
            <a:off x="381958" y="213126"/>
            <a:ext cx="11810041" cy="477054"/>
          </a:xfrm>
          <a:prstGeom prst="rect">
            <a:avLst/>
          </a:prstGeom>
          <a:noFill/>
        </p:spPr>
        <p:txBody>
          <a:bodyPr wrap="square" rtlCol="0">
            <a:spAutoFit/>
          </a:bodyPr>
          <a:lstStyle/>
          <a:p>
            <a:pPr defTabSz="1217692">
              <a:defRPr/>
            </a:pPr>
            <a:r>
              <a:rPr lang="en-US"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3. RWA on market risk</a:t>
            </a:r>
          </a:p>
        </p:txBody>
      </p:sp>
      <p:sp>
        <p:nvSpPr>
          <p:cNvPr id="6" name="Прямоугольник 5"/>
          <p:cNvSpPr/>
          <p:nvPr/>
        </p:nvSpPr>
        <p:spPr>
          <a:xfrm>
            <a:off x="381959" y="876912"/>
            <a:ext cx="11204158" cy="477054"/>
          </a:xfrm>
          <a:prstGeom prst="rect">
            <a:avLst/>
          </a:prstGeom>
        </p:spPr>
        <p:txBody>
          <a:bodyPr wrap="square">
            <a:spAutoFit/>
          </a:bodyPr>
          <a:lstStyle/>
          <a:p>
            <a:endParaRPr lang="en-US" sz="2500" b="0" dirty="0">
              <a:effectLst/>
              <a:latin typeface="Arial" panose="020B0604020202020204" pitchFamily="34" charset="0"/>
              <a:cs typeface="Arial" panose="020B0604020202020204" pitchFamily="34" charset="0"/>
            </a:endParaRPr>
          </a:p>
        </p:txBody>
      </p:sp>
      <p:sp>
        <p:nvSpPr>
          <p:cNvPr id="7" name="Прямоугольник 6"/>
          <p:cNvSpPr/>
          <p:nvPr/>
        </p:nvSpPr>
        <p:spPr>
          <a:xfrm>
            <a:off x="381958" y="779394"/>
            <a:ext cx="11081729" cy="1169551"/>
          </a:xfrm>
          <a:prstGeom prst="rect">
            <a:avLst/>
          </a:prstGeom>
        </p:spPr>
        <p:txBody>
          <a:bodyPr wrap="square">
            <a:spAutoFit/>
          </a:bodyPr>
          <a:lstStyle/>
          <a:p>
            <a:r>
              <a:rPr lang="en-US" sz="2200" b="1" dirty="0">
                <a:latin typeface="Arial" panose="020B0604020202020204" pitchFamily="34" charset="0"/>
                <a:cs typeface="Arial" panose="020B0604020202020204" pitchFamily="34" charset="0"/>
              </a:rPr>
              <a:t>FX risk</a:t>
            </a:r>
            <a:r>
              <a:rPr lang="ru-RU" sz="2200" b="1" dirty="0">
                <a:latin typeface="Arial" panose="020B0604020202020204" pitchFamily="34" charset="0"/>
                <a:cs typeface="Arial" panose="020B0604020202020204" pitchFamily="34" charset="0"/>
              </a:rPr>
              <a:t>:</a:t>
            </a:r>
            <a:endParaRPr lang="en-US" sz="2200" b="1"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dirty="0"/>
              <a:t>Measure the risks inherent in a bank’s mix of long and short positions in different currencies as set out in</a:t>
            </a:r>
            <a:endParaRPr lang="en-US" sz="2200" dirty="0">
              <a:latin typeface="Arial" panose="020B0604020202020204" pitchFamily="34" charset="0"/>
              <a:cs typeface="Arial" panose="020B0604020202020204" pitchFamily="34" charset="0"/>
            </a:endParaRPr>
          </a:p>
        </p:txBody>
      </p:sp>
      <p:pic>
        <p:nvPicPr>
          <p:cNvPr id="3" name="Рисунок 2"/>
          <p:cNvPicPr>
            <a:picLocks noChangeAspect="1"/>
          </p:cNvPicPr>
          <p:nvPr/>
        </p:nvPicPr>
        <p:blipFill>
          <a:blip r:embed="rId2"/>
          <a:stretch>
            <a:fillRect/>
          </a:stretch>
        </p:blipFill>
        <p:spPr>
          <a:xfrm>
            <a:off x="381958" y="2249502"/>
            <a:ext cx="10559264" cy="3121292"/>
          </a:xfrm>
          <a:prstGeom prst="rect">
            <a:avLst/>
          </a:prstGeom>
        </p:spPr>
      </p:pic>
    </p:spTree>
    <p:extLst>
      <p:ext uri="{BB962C8B-B14F-4D97-AF65-F5344CB8AC3E}">
        <p14:creationId xmlns:p14="http://schemas.microsoft.com/office/powerpoint/2010/main" val="65590703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latin typeface="Arial" panose="020B0604020202020204" pitchFamily="34" charset="0"/>
                <a:cs typeface="Arial" panose="020B0604020202020204" pitchFamily="34" charset="0"/>
              </a:rPr>
              <a:t>4</a:t>
            </a:fld>
            <a:endParaRPr lang="en-US" dirty="0">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sz="2500" b="1" kern="0" dirty="0">
                <a:solidFill>
                  <a:srgbClr val="1F4E79"/>
                </a:solidFill>
                <a:latin typeface="SB Sans Display" panose="020B0503040504020204"/>
                <a:ea typeface="等线" panose="02010600030101010101" pitchFamily="2" charset="-122"/>
                <a:cs typeface="Arial" panose="020B0604020202020204" pitchFamily="34" charset="0"/>
              </a:rPr>
              <a:t>4. Regulatory liquidity</a:t>
            </a:r>
          </a:p>
        </p:txBody>
      </p:sp>
      <mc:AlternateContent xmlns:mc="http://schemas.openxmlformats.org/markup-compatibility/2006" xmlns:a14="http://schemas.microsoft.com/office/drawing/2010/main">
        <mc:Choice Requires="a14">
          <p:sp>
            <p:nvSpPr>
              <p:cNvPr id="6" name="Прямоугольник 5"/>
              <p:cNvSpPr/>
              <p:nvPr/>
            </p:nvSpPr>
            <p:spPr>
              <a:xfrm>
                <a:off x="6629762" y="3728790"/>
                <a:ext cx="4324774" cy="533544"/>
              </a:xfrm>
              <a:prstGeom prst="rect">
                <a:avLst/>
              </a:prstGeom>
              <a:ln>
                <a:noFill/>
              </a:ln>
            </p:spPr>
            <p:txBody>
              <a:bodyPr wrap="none">
                <a:spAutoFit/>
              </a:bodyPr>
              <a:lstStyle/>
              <a:p>
                <a:r>
                  <a:rPr lang="en-US" dirty="0">
                    <a:latin typeface="Arial" panose="020B0604020202020204" pitchFamily="34" charset="0"/>
                    <a:cs typeface="Arial" panose="020B0604020202020204" pitchFamily="34" charset="0"/>
                  </a:rPr>
                  <a:t>NSFR= </a:t>
                </a:r>
                <a14:m>
                  <m:oMath xmlns:m="http://schemas.openxmlformats.org/officeDocument/2006/math">
                    <m:f>
                      <m:fPr>
                        <m:ctrlPr>
                          <a:rPr lang="en-US" i="1">
                            <a:latin typeface="Cambria Math" panose="02040503050406030204" pitchFamily="18" charset="0"/>
                          </a:rPr>
                        </m:ctrlPr>
                      </m:fPr>
                      <m:num>
                        <m:r>
                          <a:rPr lang="en-US" b="0" i="1" smtClean="0">
                            <a:solidFill>
                              <a:srgbClr val="00B050"/>
                            </a:solidFill>
                            <a:latin typeface="Cambria Math" panose="02040503050406030204" pitchFamily="18" charset="0"/>
                          </a:rPr>
                          <m:t>𝐴𝑣𝑎𝑖𝑙𝑎𝑏𝑙𝑒</m:t>
                        </m:r>
                        <m:r>
                          <a:rPr lang="en-US" b="0" i="1" smtClean="0">
                            <a:solidFill>
                              <a:srgbClr val="00B050"/>
                            </a:solidFill>
                            <a:latin typeface="Cambria Math" panose="02040503050406030204" pitchFamily="18" charset="0"/>
                          </a:rPr>
                          <m:t> </m:t>
                        </m:r>
                        <m:r>
                          <a:rPr lang="en-US" b="0" i="1" smtClean="0">
                            <a:solidFill>
                              <a:srgbClr val="00B050"/>
                            </a:solidFill>
                            <a:latin typeface="Cambria Math" panose="02040503050406030204" pitchFamily="18" charset="0"/>
                          </a:rPr>
                          <m:t>𝑠𝑡𝑎𝑏𝑙𝑒</m:t>
                        </m:r>
                        <m:r>
                          <a:rPr lang="en-US" b="0" i="1" smtClean="0">
                            <a:solidFill>
                              <a:srgbClr val="00B050"/>
                            </a:solidFill>
                            <a:latin typeface="Cambria Math" panose="02040503050406030204" pitchFamily="18" charset="0"/>
                          </a:rPr>
                          <m:t> </m:t>
                        </m:r>
                        <m:r>
                          <a:rPr lang="en-US" b="0" i="1" smtClean="0">
                            <a:solidFill>
                              <a:srgbClr val="00B050"/>
                            </a:solidFill>
                            <a:latin typeface="Cambria Math" panose="02040503050406030204" pitchFamily="18" charset="0"/>
                          </a:rPr>
                          <m:t>𝑓𝑢𝑛𝑑𝑖𝑛𝑔</m:t>
                        </m:r>
                        <m:r>
                          <a:rPr lang="en-US" b="0" i="1" smtClean="0">
                            <a:solidFill>
                              <a:srgbClr val="00B050"/>
                            </a:solidFill>
                            <a:latin typeface="Cambria Math" panose="02040503050406030204" pitchFamily="18" charset="0"/>
                          </a:rPr>
                          <m:t> (</m:t>
                        </m:r>
                        <m:r>
                          <a:rPr lang="en-US" b="0" i="1" smtClean="0">
                            <a:solidFill>
                              <a:srgbClr val="00B050"/>
                            </a:solidFill>
                            <a:latin typeface="Cambria Math" panose="02040503050406030204" pitchFamily="18" charset="0"/>
                          </a:rPr>
                          <m:t>𝐴𝑆𝐹</m:t>
                        </m:r>
                        <m:r>
                          <a:rPr lang="en-US" b="0" i="1" smtClean="0">
                            <a:solidFill>
                              <a:srgbClr val="00B050"/>
                            </a:solidFill>
                            <a:latin typeface="Cambria Math" panose="02040503050406030204" pitchFamily="18" charset="0"/>
                          </a:rPr>
                          <m:t>)</m:t>
                        </m:r>
                      </m:num>
                      <m:den>
                        <m:r>
                          <a:rPr lang="en-US" b="0" i="1" smtClean="0">
                            <a:solidFill>
                              <a:srgbClr val="FF0000"/>
                            </a:solidFill>
                            <a:latin typeface="Cambria Math" panose="02040503050406030204" pitchFamily="18" charset="0"/>
                          </a:rPr>
                          <m:t>𝑅𝑒𝑞𝑢𝑖𝑟𝑒𝑑</m:t>
                        </m:r>
                        <m:r>
                          <a:rPr lang="en-US" b="0" i="1" smtClean="0">
                            <a:solidFill>
                              <a:srgbClr val="FF0000"/>
                            </a:solidFill>
                            <a:latin typeface="Cambria Math" panose="02040503050406030204" pitchFamily="18" charset="0"/>
                          </a:rPr>
                          <m:t> </m:t>
                        </m:r>
                        <m:r>
                          <a:rPr lang="en-US" b="0" i="1" smtClean="0">
                            <a:solidFill>
                              <a:srgbClr val="FF0000"/>
                            </a:solidFill>
                            <a:latin typeface="Cambria Math" panose="02040503050406030204" pitchFamily="18" charset="0"/>
                          </a:rPr>
                          <m:t>𝑠𝑡𝑎𝑏𝑙𝑒</m:t>
                        </m:r>
                        <m:r>
                          <a:rPr lang="en-US" b="0" i="1" smtClean="0">
                            <a:solidFill>
                              <a:srgbClr val="FF0000"/>
                            </a:solidFill>
                            <a:latin typeface="Cambria Math" panose="02040503050406030204" pitchFamily="18" charset="0"/>
                          </a:rPr>
                          <m:t> </m:t>
                        </m:r>
                        <m:r>
                          <a:rPr lang="en-US" b="0" i="1" smtClean="0">
                            <a:solidFill>
                              <a:srgbClr val="FF0000"/>
                            </a:solidFill>
                            <a:latin typeface="Cambria Math" panose="02040503050406030204" pitchFamily="18" charset="0"/>
                          </a:rPr>
                          <m:t>𝑓𝑢𝑛𝑑𝑖𝑛𝑔</m:t>
                        </m:r>
                        <m:r>
                          <a:rPr lang="en-US" b="0" i="1" smtClean="0">
                            <a:solidFill>
                              <a:srgbClr val="FF0000"/>
                            </a:solidFill>
                            <a:latin typeface="Cambria Math" panose="02040503050406030204" pitchFamily="18" charset="0"/>
                          </a:rPr>
                          <m:t> (</m:t>
                        </m:r>
                        <m:r>
                          <a:rPr lang="en-US" b="0" i="1" smtClean="0">
                            <a:solidFill>
                              <a:srgbClr val="FF0000"/>
                            </a:solidFill>
                            <a:latin typeface="Cambria Math" panose="02040503050406030204" pitchFamily="18" charset="0"/>
                          </a:rPr>
                          <m:t>𝑅𝑆𝐹</m:t>
                        </m:r>
                        <m:r>
                          <a:rPr lang="en-US" b="0" i="1" smtClean="0">
                            <a:solidFill>
                              <a:srgbClr val="FF0000"/>
                            </a:solidFill>
                            <a:latin typeface="Cambria Math" panose="02040503050406030204" pitchFamily="18" charset="0"/>
                          </a:rPr>
                          <m:t>)</m:t>
                        </m:r>
                      </m:den>
                    </m:f>
                  </m:oMath>
                </a14:m>
                <a:r>
                  <a:rPr lang="en-US" dirty="0">
                    <a:latin typeface="Arial" panose="020B0604020202020204" pitchFamily="34" charset="0"/>
                    <a:cs typeface="Arial" panose="020B0604020202020204" pitchFamily="34" charset="0"/>
                  </a:rPr>
                  <a:t>&gt;100%</a:t>
                </a:r>
              </a:p>
            </p:txBody>
          </p:sp>
        </mc:Choice>
        <mc:Fallback xmlns="">
          <p:sp>
            <p:nvSpPr>
              <p:cNvPr id="6" name="Прямоугольник 5"/>
              <p:cNvSpPr>
                <a:spLocks noRot="1" noChangeAspect="1" noMove="1" noResize="1" noEditPoints="1" noAdjustHandles="1" noChangeArrowheads="1" noChangeShapeType="1" noTextEdit="1"/>
              </p:cNvSpPr>
              <p:nvPr/>
            </p:nvSpPr>
            <p:spPr>
              <a:xfrm>
                <a:off x="6629762" y="3728790"/>
                <a:ext cx="4324774" cy="533544"/>
              </a:xfrm>
              <a:prstGeom prst="rect">
                <a:avLst/>
              </a:prstGeom>
              <a:blipFill>
                <a:blip r:embed="rId4"/>
                <a:stretch>
                  <a:fillRect l="-1269" r="-423" b="-6897"/>
                </a:stretch>
              </a:blipFill>
              <a:ln>
                <a:noFill/>
              </a:ln>
            </p:spPr>
            <p:txBody>
              <a:bodyPr/>
              <a:lstStyle/>
              <a:p>
                <a:r>
                  <a:rPr lang="ru-RU">
                    <a:noFill/>
                  </a:rPr>
                  <a:t> </a:t>
                </a:r>
              </a:p>
            </p:txBody>
          </p:sp>
        </mc:Fallback>
      </mc:AlternateContent>
      <mc:AlternateContent xmlns:mc="http://schemas.openxmlformats.org/markup-compatibility/2006" xmlns:a14="http://schemas.microsoft.com/office/drawing/2010/main">
        <mc:Choice Requires="a14">
          <p:sp>
            <p:nvSpPr>
              <p:cNvPr id="7" name="Прямоугольник 6"/>
              <p:cNvSpPr/>
              <p:nvPr/>
            </p:nvSpPr>
            <p:spPr>
              <a:xfrm>
                <a:off x="537489" y="3853495"/>
                <a:ext cx="5407186" cy="526554"/>
              </a:xfrm>
              <a:prstGeom prst="rect">
                <a:avLst/>
              </a:prstGeom>
              <a:ln>
                <a:noFill/>
              </a:ln>
            </p:spPr>
            <p:txBody>
              <a:bodyPr wrap="none">
                <a:spAutoFit/>
              </a:bodyPr>
              <a:lstStyle/>
              <a:p>
                <a:r>
                  <a:rPr lang="en-US" dirty="0">
                    <a:latin typeface="Arial" panose="020B0604020202020204" pitchFamily="34" charset="0"/>
                    <a:cs typeface="Arial" panose="020B0604020202020204" pitchFamily="34" charset="0"/>
                  </a:rPr>
                  <a:t>LCR= </a:t>
                </a:r>
                <a14:m>
                  <m:oMath xmlns:m="http://schemas.openxmlformats.org/officeDocument/2006/math">
                    <m:f>
                      <m:fPr>
                        <m:ctrlPr>
                          <a:rPr lang="en-US" i="1">
                            <a:latin typeface="Cambria Math" panose="02040503050406030204" pitchFamily="18" charset="0"/>
                          </a:rPr>
                        </m:ctrlPr>
                      </m:fPr>
                      <m:num>
                        <m:r>
                          <a:rPr lang="en-US" b="0" i="1" smtClean="0">
                            <a:solidFill>
                              <a:srgbClr val="00B050"/>
                            </a:solidFill>
                            <a:latin typeface="Cambria Math" panose="02040503050406030204" pitchFamily="18" charset="0"/>
                          </a:rPr>
                          <m:t>𝐻𝑖𝑔h</m:t>
                        </m:r>
                        <m:r>
                          <a:rPr lang="en-US" b="0" i="1" smtClean="0">
                            <a:solidFill>
                              <a:srgbClr val="00B050"/>
                            </a:solidFill>
                            <a:latin typeface="Cambria Math" panose="02040503050406030204" pitchFamily="18" charset="0"/>
                          </a:rPr>
                          <m:t> </m:t>
                        </m:r>
                        <m:r>
                          <a:rPr lang="en-US" b="0" i="1" smtClean="0">
                            <a:solidFill>
                              <a:srgbClr val="00B050"/>
                            </a:solidFill>
                            <a:latin typeface="Cambria Math" panose="02040503050406030204" pitchFamily="18" charset="0"/>
                          </a:rPr>
                          <m:t>𝑞𝑢𝑎𝑙𝑖𝑡𝑦</m:t>
                        </m:r>
                        <m:r>
                          <a:rPr lang="en-US" b="0" i="1" smtClean="0">
                            <a:solidFill>
                              <a:srgbClr val="00B050"/>
                            </a:solidFill>
                            <a:latin typeface="Cambria Math" panose="02040503050406030204" pitchFamily="18" charset="0"/>
                          </a:rPr>
                          <m:t> </m:t>
                        </m:r>
                        <m:r>
                          <a:rPr lang="en-US" b="0" i="1" smtClean="0">
                            <a:solidFill>
                              <a:srgbClr val="00B050"/>
                            </a:solidFill>
                            <a:latin typeface="Cambria Math" panose="02040503050406030204" pitchFamily="18" charset="0"/>
                          </a:rPr>
                          <m:t>𝑙𝑖𝑞𝑢𝑖𝑑</m:t>
                        </m:r>
                        <m:r>
                          <a:rPr lang="en-US" b="0" i="1" smtClean="0">
                            <a:solidFill>
                              <a:srgbClr val="00B050"/>
                            </a:solidFill>
                            <a:latin typeface="Cambria Math" panose="02040503050406030204" pitchFamily="18" charset="0"/>
                          </a:rPr>
                          <m:t> </m:t>
                        </m:r>
                        <m:r>
                          <a:rPr lang="en-US" b="0" i="1" smtClean="0">
                            <a:solidFill>
                              <a:srgbClr val="00B050"/>
                            </a:solidFill>
                            <a:latin typeface="Cambria Math" panose="02040503050406030204" pitchFamily="18" charset="0"/>
                          </a:rPr>
                          <m:t>𝑎𝑠𝑠𝑒𝑡𝑠</m:t>
                        </m:r>
                      </m:num>
                      <m:den>
                        <m:r>
                          <a:rPr lang="en-US" b="0" i="1" smtClean="0">
                            <a:solidFill>
                              <a:srgbClr val="FF0000"/>
                            </a:solidFill>
                            <a:latin typeface="Cambria Math" panose="02040503050406030204" pitchFamily="18" charset="0"/>
                          </a:rPr>
                          <m:t>𝐶𝑎𝑠h</m:t>
                        </m:r>
                        <m:r>
                          <a:rPr lang="en-US" b="0" i="1" smtClean="0">
                            <a:solidFill>
                              <a:srgbClr val="FF0000"/>
                            </a:solidFill>
                            <a:latin typeface="Cambria Math" panose="02040503050406030204" pitchFamily="18" charset="0"/>
                          </a:rPr>
                          <m:t> </m:t>
                        </m:r>
                        <m:r>
                          <a:rPr lang="en-US" b="0" i="1" smtClean="0">
                            <a:solidFill>
                              <a:srgbClr val="FF0000"/>
                            </a:solidFill>
                            <a:latin typeface="Cambria Math" panose="02040503050406030204" pitchFamily="18" charset="0"/>
                          </a:rPr>
                          <m:t>𝑜𝑢𝑡𝑓𝑙𝑜𝑤𝑠</m:t>
                        </m:r>
                        <m:r>
                          <a:rPr lang="en-US" b="0" i="1" smtClean="0">
                            <a:solidFill>
                              <a:srgbClr val="FF0000"/>
                            </a:solidFill>
                            <a:latin typeface="Cambria Math" panose="02040503050406030204" pitchFamily="18" charset="0"/>
                          </a:rPr>
                          <m:t> </m:t>
                        </m:r>
                        <m:r>
                          <a:rPr lang="en-US" b="0" i="1" smtClean="0">
                            <a:solidFill>
                              <a:srgbClr val="FF0000"/>
                            </a:solidFill>
                            <a:latin typeface="Cambria Math" panose="02040503050406030204" pitchFamily="18" charset="0"/>
                          </a:rPr>
                          <m:t>𝑓𝑜𝑟</m:t>
                        </m:r>
                        <m:r>
                          <a:rPr lang="en-US" b="0" i="1" smtClean="0">
                            <a:solidFill>
                              <a:srgbClr val="FF0000"/>
                            </a:solidFill>
                            <a:latin typeface="Cambria Math" panose="02040503050406030204" pitchFamily="18" charset="0"/>
                          </a:rPr>
                          <m:t> 30</m:t>
                        </m:r>
                        <m:r>
                          <a:rPr lang="en-US" b="0" i="1" smtClean="0">
                            <a:solidFill>
                              <a:srgbClr val="FF0000"/>
                            </a:solidFill>
                            <a:latin typeface="Cambria Math" panose="02040503050406030204" pitchFamily="18" charset="0"/>
                          </a:rPr>
                          <m:t>𝑑</m:t>
                        </m:r>
                        <m:r>
                          <a:rPr lang="en-US" b="0" i="1" smtClean="0">
                            <a:latin typeface="Cambria Math" panose="02040503050406030204" pitchFamily="18" charset="0"/>
                          </a:rPr>
                          <m:t> − </m:t>
                        </m:r>
                        <m:r>
                          <a:rPr lang="en-US" b="0" i="1" smtClean="0">
                            <a:solidFill>
                              <a:srgbClr val="00B050"/>
                            </a:solidFill>
                            <a:latin typeface="Cambria Math" panose="02040503050406030204" pitchFamily="18" charset="0"/>
                          </a:rPr>
                          <m:t>𝐶𝑎𝑠h</m:t>
                        </m:r>
                        <m:r>
                          <a:rPr lang="en-US" b="0" i="1" smtClean="0">
                            <a:solidFill>
                              <a:srgbClr val="00B050"/>
                            </a:solidFill>
                            <a:latin typeface="Cambria Math" panose="02040503050406030204" pitchFamily="18" charset="0"/>
                          </a:rPr>
                          <m:t> </m:t>
                        </m:r>
                        <m:r>
                          <a:rPr lang="en-US" b="0" i="1" smtClean="0">
                            <a:solidFill>
                              <a:srgbClr val="00B050"/>
                            </a:solidFill>
                            <a:latin typeface="Cambria Math" panose="02040503050406030204" pitchFamily="18" charset="0"/>
                          </a:rPr>
                          <m:t>𝑖𝑛𝑓𝑙𝑜𝑤𝑠</m:t>
                        </m:r>
                        <m:r>
                          <a:rPr lang="en-US" b="0" i="1" smtClean="0">
                            <a:solidFill>
                              <a:srgbClr val="00B050"/>
                            </a:solidFill>
                            <a:latin typeface="Cambria Math" panose="02040503050406030204" pitchFamily="18" charset="0"/>
                          </a:rPr>
                          <m:t> </m:t>
                        </m:r>
                        <m:r>
                          <a:rPr lang="en-US" b="0" i="1" smtClean="0">
                            <a:solidFill>
                              <a:srgbClr val="00B050"/>
                            </a:solidFill>
                            <a:latin typeface="Cambria Math" panose="02040503050406030204" pitchFamily="18" charset="0"/>
                          </a:rPr>
                          <m:t>𝑓𝑜𝑟</m:t>
                        </m:r>
                        <m:r>
                          <a:rPr lang="en-US" b="0" i="1" smtClean="0">
                            <a:solidFill>
                              <a:srgbClr val="00B050"/>
                            </a:solidFill>
                            <a:latin typeface="Cambria Math" panose="02040503050406030204" pitchFamily="18" charset="0"/>
                          </a:rPr>
                          <m:t> 30</m:t>
                        </m:r>
                        <m:r>
                          <a:rPr lang="en-US" b="0" i="1" smtClean="0">
                            <a:solidFill>
                              <a:srgbClr val="00B050"/>
                            </a:solidFill>
                            <a:latin typeface="Cambria Math" panose="02040503050406030204" pitchFamily="18" charset="0"/>
                          </a:rPr>
                          <m:t>𝑑</m:t>
                        </m:r>
                      </m:den>
                    </m:f>
                  </m:oMath>
                </a14:m>
                <a:r>
                  <a:rPr lang="en-US" dirty="0">
                    <a:latin typeface="Arial" panose="020B0604020202020204" pitchFamily="34" charset="0"/>
                    <a:cs typeface="Arial" panose="020B0604020202020204" pitchFamily="34" charset="0"/>
                  </a:rPr>
                  <a:t>&gt;100%</a:t>
                </a:r>
              </a:p>
            </p:txBody>
          </p:sp>
        </mc:Choice>
        <mc:Fallback xmlns="">
          <p:sp>
            <p:nvSpPr>
              <p:cNvPr id="7" name="Прямоугольник 6"/>
              <p:cNvSpPr>
                <a:spLocks noRot="1" noChangeAspect="1" noMove="1" noResize="1" noEditPoints="1" noAdjustHandles="1" noChangeArrowheads="1" noChangeShapeType="1" noTextEdit="1"/>
              </p:cNvSpPr>
              <p:nvPr/>
            </p:nvSpPr>
            <p:spPr>
              <a:xfrm>
                <a:off x="537489" y="3853495"/>
                <a:ext cx="5407186" cy="526554"/>
              </a:xfrm>
              <a:prstGeom prst="rect">
                <a:avLst/>
              </a:prstGeom>
              <a:blipFill>
                <a:blip r:embed="rId5"/>
                <a:stretch>
                  <a:fillRect l="-902" r="-113" b="-5747"/>
                </a:stretch>
              </a:blipFill>
              <a:ln>
                <a:noFill/>
              </a:ln>
            </p:spPr>
            <p:txBody>
              <a:bodyPr/>
              <a:lstStyle/>
              <a:p>
                <a:r>
                  <a:rPr lang="ru-RU">
                    <a:noFill/>
                  </a:rPr>
                  <a:t> </a:t>
                </a:r>
              </a:p>
            </p:txBody>
          </p:sp>
        </mc:Fallback>
      </mc:AlternateContent>
      <p:sp>
        <p:nvSpPr>
          <p:cNvPr id="8" name="Прямоугольник 7"/>
          <p:cNvSpPr/>
          <p:nvPr/>
        </p:nvSpPr>
        <p:spPr>
          <a:xfrm>
            <a:off x="458960" y="847716"/>
            <a:ext cx="5245553" cy="1323439"/>
          </a:xfrm>
          <a:prstGeom prst="rect">
            <a:avLst/>
          </a:prstGeom>
        </p:spPr>
        <p:txBody>
          <a:bodyPr wrap="square">
            <a:spAutoFit/>
          </a:bodyPr>
          <a:lstStyle/>
          <a:p>
            <a:r>
              <a:rPr lang="en-US" sz="1600" b="1" dirty="0">
                <a:latin typeface="Arial" panose="020B0604020202020204" pitchFamily="34" charset="0"/>
                <a:cs typeface="Arial" panose="020B0604020202020204" pitchFamily="34" charset="0"/>
              </a:rPr>
              <a:t>Liquidity coverage ratio (LCR) H26 in Russia</a:t>
            </a:r>
          </a:p>
          <a:p>
            <a:endParaRPr lang="en-US" sz="1600" b="1" dirty="0">
              <a:effectLst/>
              <a:latin typeface="Arial" panose="020B0604020202020204" pitchFamily="34" charset="0"/>
              <a:cs typeface="Arial" panose="020B0604020202020204" pitchFamily="34" charset="0"/>
            </a:endParaRPr>
          </a:p>
          <a:p>
            <a:r>
              <a:rPr lang="en-US" sz="1600" b="0" dirty="0">
                <a:effectLst/>
                <a:latin typeface="Arial" panose="020B0604020202020204" pitchFamily="34" charset="0"/>
                <a:cs typeface="Arial" panose="020B0604020202020204" pitchFamily="34" charset="0"/>
              </a:rPr>
              <a:t>Ability of the banking group to fulfill its obligations during 30 days in the stress of liquidity using its liquidity cushion</a:t>
            </a:r>
          </a:p>
        </p:txBody>
      </p:sp>
      <p:graphicFrame>
        <p:nvGraphicFramePr>
          <p:cNvPr id="10" name="Таблица 9"/>
          <p:cNvGraphicFramePr>
            <a:graphicFrameLocks noGrp="1"/>
          </p:cNvGraphicFramePr>
          <p:nvPr/>
        </p:nvGraphicFramePr>
        <p:xfrm>
          <a:off x="2350325" y="2423271"/>
          <a:ext cx="2973131" cy="975360"/>
        </p:xfrm>
        <a:graphic>
          <a:graphicData uri="http://schemas.openxmlformats.org/drawingml/2006/table">
            <a:tbl>
              <a:tblPr firstRow="1" bandRow="1">
                <a:tableStyleId>{5940675A-B579-460E-94D1-54222C63F5DA}</a:tableStyleId>
              </a:tblPr>
              <a:tblGrid>
                <a:gridCol w="2372750">
                  <a:extLst>
                    <a:ext uri="{9D8B030D-6E8A-4147-A177-3AD203B41FA5}">
                      <a16:colId xmlns:a16="http://schemas.microsoft.com/office/drawing/2014/main" val="653383754"/>
                    </a:ext>
                  </a:extLst>
                </a:gridCol>
                <a:gridCol w="600381">
                  <a:extLst>
                    <a:ext uri="{9D8B030D-6E8A-4147-A177-3AD203B41FA5}">
                      <a16:colId xmlns:a16="http://schemas.microsoft.com/office/drawing/2014/main" val="1530598895"/>
                    </a:ext>
                  </a:extLst>
                </a:gridCol>
              </a:tblGrid>
              <a:tr h="152468">
                <a:tc>
                  <a:txBody>
                    <a:bodyPr/>
                    <a:lstStyle/>
                    <a:p>
                      <a:r>
                        <a:rPr lang="en-US" sz="1000" dirty="0">
                          <a:latin typeface="Arial" panose="020B0604020202020204" pitchFamily="34" charset="0"/>
                          <a:cs typeface="Arial" panose="020B0604020202020204" pitchFamily="34" charset="0"/>
                        </a:rPr>
                        <a:t>Cash</a:t>
                      </a:r>
                      <a:endParaRPr lang="ru-RU" sz="10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r>
                        <a:rPr lang="en-US" sz="1000" dirty="0">
                          <a:latin typeface="Arial" panose="020B0604020202020204" pitchFamily="34" charset="0"/>
                          <a:cs typeface="Arial" panose="020B0604020202020204" pitchFamily="34" charset="0"/>
                        </a:rPr>
                        <a:t>100%</a:t>
                      </a:r>
                      <a:endParaRPr lang="ru-RU" sz="1000" dirty="0">
                        <a:latin typeface="Arial" panose="020B0604020202020204" pitchFamily="34" charset="0"/>
                        <a:cs typeface="Arial" panose="020B0604020202020204" pitchFamily="34" charset="0"/>
                      </a:endParaRPr>
                    </a:p>
                  </a:txBody>
                  <a:tcP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4259100280"/>
                  </a:ext>
                </a:extLst>
              </a:tr>
              <a:tr h="15246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latin typeface="Arial" panose="020B0604020202020204" pitchFamily="34" charset="0"/>
                          <a:cs typeface="Arial" panose="020B0604020202020204" pitchFamily="34" charset="0"/>
                        </a:rPr>
                        <a:t>O/N loans to Central bank</a:t>
                      </a: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000" dirty="0">
                          <a:latin typeface="Arial" panose="020B0604020202020204" pitchFamily="34" charset="0"/>
                          <a:cs typeface="Arial" panose="020B0604020202020204" pitchFamily="34" charset="0"/>
                        </a:rPr>
                        <a:t>100%</a:t>
                      </a:r>
                      <a:endParaRPr lang="ru-RU" sz="1000" dirty="0">
                        <a:latin typeface="Arial" panose="020B0604020202020204" pitchFamily="34" charset="0"/>
                        <a:cs typeface="Arial" panose="020B0604020202020204" pitchFamily="34" charset="0"/>
                      </a:endParaRPr>
                    </a:p>
                  </a:txBody>
                  <a:tcP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877942498"/>
                  </a:ext>
                </a:extLst>
              </a:tr>
              <a:tr h="15246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latin typeface="Arial" panose="020B0604020202020204" pitchFamily="34" charset="0"/>
                          <a:cs typeface="Arial" panose="020B0604020202020204" pitchFamily="34" charset="0"/>
                        </a:rPr>
                        <a:t>Sovereign bonds</a:t>
                      </a: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000" dirty="0">
                          <a:latin typeface="Arial" panose="020B0604020202020204" pitchFamily="34" charset="0"/>
                          <a:cs typeface="Arial" panose="020B0604020202020204" pitchFamily="34" charset="0"/>
                        </a:rPr>
                        <a:t>100%</a:t>
                      </a:r>
                    </a:p>
                  </a:txBody>
                  <a:tcP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276281309"/>
                  </a:ext>
                </a:extLst>
              </a:tr>
              <a:tr h="15246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latin typeface="Arial" panose="020B0604020202020204" pitchFamily="34" charset="0"/>
                          <a:cs typeface="Arial" panose="020B0604020202020204" pitchFamily="34" charset="0"/>
                        </a:rPr>
                        <a:t>Corporate bonds (not less than BBB-)</a:t>
                      </a:r>
                    </a:p>
                  </a:txBody>
                  <a:tcPr>
                    <a:lnL w="12700" cap="flat" cmpd="sng" algn="ctr">
                      <a:solidFill>
                        <a:schemeClr val="tx1"/>
                      </a:solidFill>
                      <a:prstDash val="solid"/>
                      <a:round/>
                      <a:headEnd type="none" w="med" len="med"/>
                      <a:tailEnd type="none" w="med" len="med"/>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dirty="0">
                          <a:latin typeface="Arial" panose="020B0604020202020204" pitchFamily="34" charset="0"/>
                          <a:cs typeface="Arial" panose="020B0604020202020204" pitchFamily="34" charset="0"/>
                        </a:rPr>
                        <a:t>50%</a:t>
                      </a:r>
                      <a:endParaRPr lang="ru-RU" sz="1000" dirty="0">
                        <a:latin typeface="Arial" panose="020B0604020202020204" pitchFamily="34" charset="0"/>
                        <a:cs typeface="Arial" panose="020B0604020202020204" pitchFamily="34" charset="0"/>
                      </a:endParaRPr>
                    </a:p>
                  </a:txBody>
                  <a:tcPr>
                    <a:lnL w="12700" cmpd="sng">
                      <a:noFill/>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92547169"/>
                  </a:ext>
                </a:extLst>
              </a:tr>
            </a:tbl>
          </a:graphicData>
        </a:graphic>
      </p:graphicFrame>
      <p:cxnSp>
        <p:nvCxnSpPr>
          <p:cNvPr id="12" name="Прямая со стрелкой 11"/>
          <p:cNvCxnSpPr/>
          <p:nvPr/>
        </p:nvCxnSpPr>
        <p:spPr>
          <a:xfrm flipH="1">
            <a:off x="3836890" y="3423435"/>
            <a:ext cx="3900" cy="379142"/>
          </a:xfrm>
          <a:prstGeom prst="straightConnector1">
            <a:avLst/>
          </a:prstGeom>
          <a:ln>
            <a:solidFill>
              <a:srgbClr val="575757"/>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15" name="Таблица 14"/>
          <p:cNvGraphicFramePr>
            <a:graphicFrameLocks noGrp="1"/>
          </p:cNvGraphicFramePr>
          <p:nvPr/>
        </p:nvGraphicFramePr>
        <p:xfrm>
          <a:off x="225846" y="4861076"/>
          <a:ext cx="2896495" cy="1463040"/>
        </p:xfrm>
        <a:graphic>
          <a:graphicData uri="http://schemas.openxmlformats.org/drawingml/2006/table">
            <a:tbl>
              <a:tblPr firstRow="1" bandRow="1">
                <a:tableStyleId>{5940675A-B579-460E-94D1-54222C63F5DA}</a:tableStyleId>
              </a:tblPr>
              <a:tblGrid>
                <a:gridCol w="2082456">
                  <a:extLst>
                    <a:ext uri="{9D8B030D-6E8A-4147-A177-3AD203B41FA5}">
                      <a16:colId xmlns:a16="http://schemas.microsoft.com/office/drawing/2014/main" val="653383754"/>
                    </a:ext>
                  </a:extLst>
                </a:gridCol>
                <a:gridCol w="814039">
                  <a:extLst>
                    <a:ext uri="{9D8B030D-6E8A-4147-A177-3AD203B41FA5}">
                      <a16:colId xmlns:a16="http://schemas.microsoft.com/office/drawing/2014/main" val="1530598895"/>
                    </a:ext>
                  </a:extLst>
                </a:gridCol>
              </a:tblGrid>
              <a:tr h="212017">
                <a:tc>
                  <a:txBody>
                    <a:bodyPr/>
                    <a:lstStyle/>
                    <a:p>
                      <a:r>
                        <a:rPr lang="en-US" sz="1000" dirty="0">
                          <a:latin typeface="Arial" panose="020B0604020202020204" pitchFamily="34" charset="0"/>
                          <a:cs typeface="Arial" panose="020B0604020202020204" pitchFamily="34" charset="0"/>
                        </a:rPr>
                        <a:t>Funding</a:t>
                      </a:r>
                      <a:r>
                        <a:rPr lang="en-US" sz="1000" baseline="0" dirty="0">
                          <a:latin typeface="Arial" panose="020B0604020202020204" pitchFamily="34" charset="0"/>
                          <a:cs typeface="Arial" panose="020B0604020202020204" pitchFamily="34" charset="0"/>
                        </a:rPr>
                        <a:t> from central bank &lt;30d</a:t>
                      </a:r>
                      <a:endParaRPr lang="ru-RU" sz="10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r>
                        <a:rPr lang="en-US" sz="1000" dirty="0">
                          <a:latin typeface="Arial" panose="020B0604020202020204" pitchFamily="34" charset="0"/>
                          <a:cs typeface="Arial" panose="020B0604020202020204" pitchFamily="34" charset="0"/>
                        </a:rPr>
                        <a:t>0%</a:t>
                      </a:r>
                      <a:endParaRPr lang="ru-RU" sz="1000" dirty="0">
                        <a:latin typeface="Arial" panose="020B0604020202020204" pitchFamily="34" charset="0"/>
                        <a:cs typeface="Arial" panose="020B0604020202020204" pitchFamily="34" charset="0"/>
                      </a:endParaRPr>
                    </a:p>
                  </a:txBody>
                  <a:tcP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4259100280"/>
                  </a:ext>
                </a:extLst>
              </a:tr>
              <a:tr h="21201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latin typeface="Arial" panose="020B0604020202020204" pitchFamily="34" charset="0"/>
                          <a:cs typeface="Arial" panose="020B0604020202020204" pitchFamily="34" charset="0"/>
                        </a:rPr>
                        <a:t>All</a:t>
                      </a:r>
                      <a:r>
                        <a:rPr lang="en-US" sz="1000" baseline="0" dirty="0">
                          <a:latin typeface="Arial" panose="020B0604020202020204" pitchFamily="34" charset="0"/>
                          <a:cs typeface="Arial" panose="020B0604020202020204" pitchFamily="34" charset="0"/>
                        </a:rPr>
                        <a:t> retail deposits and CA</a:t>
                      </a:r>
                      <a:endParaRPr lang="en-US" sz="10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000" dirty="0">
                          <a:latin typeface="Arial" panose="020B0604020202020204" pitchFamily="34" charset="0"/>
                          <a:cs typeface="Arial" panose="020B0604020202020204" pitchFamily="34" charset="0"/>
                        </a:rPr>
                        <a:t>10%</a:t>
                      </a:r>
                      <a:endParaRPr lang="ru-RU" sz="1000" dirty="0">
                        <a:latin typeface="Arial" panose="020B0604020202020204" pitchFamily="34" charset="0"/>
                        <a:cs typeface="Arial" panose="020B0604020202020204" pitchFamily="34" charset="0"/>
                      </a:endParaRPr>
                    </a:p>
                  </a:txBody>
                  <a:tcP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877942498"/>
                  </a:ext>
                </a:extLst>
              </a:tr>
              <a:tr h="21201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latin typeface="Arial" panose="020B0604020202020204" pitchFamily="34" charset="0"/>
                          <a:cs typeface="Arial" panose="020B0604020202020204" pitchFamily="34" charset="0"/>
                        </a:rPr>
                        <a:t>Corporate deposits and CA</a:t>
                      </a:r>
                      <a:r>
                        <a:rPr lang="en-US" sz="1000" baseline="0" dirty="0">
                          <a:latin typeface="Arial" panose="020B0604020202020204" pitchFamily="34" charset="0"/>
                          <a:cs typeface="Arial" panose="020B0604020202020204" pitchFamily="34" charset="0"/>
                        </a:rPr>
                        <a:t> </a:t>
                      </a:r>
                      <a:r>
                        <a:rPr lang="en-US" sz="1000" dirty="0">
                          <a:latin typeface="Arial" panose="020B0604020202020204" pitchFamily="34" charset="0"/>
                          <a:cs typeface="Arial" panose="020B0604020202020204" pitchFamily="34" charset="0"/>
                        </a:rPr>
                        <a:t>&lt;30d</a:t>
                      </a: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000" dirty="0">
                          <a:latin typeface="Arial" panose="020B0604020202020204" pitchFamily="34" charset="0"/>
                          <a:cs typeface="Arial" panose="020B0604020202020204" pitchFamily="34" charset="0"/>
                        </a:rPr>
                        <a:t>40%</a:t>
                      </a:r>
                    </a:p>
                  </a:txBody>
                  <a:tcP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276281309"/>
                  </a:ext>
                </a:extLst>
              </a:tr>
              <a:tr h="21201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latin typeface="Arial" panose="020B0604020202020204" pitchFamily="34" charset="0"/>
                          <a:cs typeface="Arial" panose="020B0604020202020204" pitchFamily="34" charset="0"/>
                        </a:rPr>
                        <a:t>Interbank borrowings &lt;30d</a:t>
                      </a:r>
                    </a:p>
                  </a:txBody>
                  <a:tcPr>
                    <a:lnL w="12700" cap="flat" cmpd="sng" algn="ctr">
                      <a:solidFill>
                        <a:schemeClr val="tx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dirty="0">
                          <a:latin typeface="Arial" panose="020B0604020202020204" pitchFamily="34" charset="0"/>
                          <a:cs typeface="Arial" panose="020B0604020202020204" pitchFamily="34" charset="0"/>
                        </a:rPr>
                        <a:t>100%</a:t>
                      </a:r>
                      <a:endParaRPr lang="ru-RU" sz="1000" dirty="0">
                        <a:latin typeface="Arial" panose="020B0604020202020204" pitchFamily="34" charset="0"/>
                        <a:cs typeface="Arial" panose="020B0604020202020204" pitchFamily="34" charset="0"/>
                      </a:endParaRPr>
                    </a:p>
                  </a:txBody>
                  <a:tcPr>
                    <a:lnL w="12700" cmpd="sng">
                      <a:noFill/>
                    </a:lnL>
                    <a:lnR w="12700" cap="flat" cmpd="sng" algn="ctr">
                      <a:solidFill>
                        <a:schemeClr val="tx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92547169"/>
                  </a:ext>
                </a:extLst>
              </a:tr>
              <a:tr h="21201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latin typeface="Arial" panose="020B0604020202020204" pitchFamily="34" charset="0"/>
                          <a:cs typeface="Arial" panose="020B0604020202020204" pitchFamily="34" charset="0"/>
                        </a:rPr>
                        <a:t>Other borrowings</a:t>
                      </a:r>
                      <a:r>
                        <a:rPr lang="en-US" sz="1000" baseline="0" dirty="0">
                          <a:latin typeface="Arial" panose="020B0604020202020204" pitchFamily="34" charset="0"/>
                          <a:cs typeface="Arial" panose="020B0604020202020204" pitchFamily="34" charset="0"/>
                        </a:rPr>
                        <a:t> &lt; 30d</a:t>
                      </a:r>
                      <a:endParaRPr lang="en-US" sz="10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dirty="0">
                          <a:latin typeface="Arial" panose="020B0604020202020204" pitchFamily="34" charset="0"/>
                          <a:cs typeface="Arial" panose="020B0604020202020204" pitchFamily="34" charset="0"/>
                        </a:rPr>
                        <a:t>100%</a:t>
                      </a:r>
                      <a:endParaRPr lang="ru-RU" sz="1000" dirty="0">
                        <a:latin typeface="Arial" panose="020B0604020202020204" pitchFamily="34" charset="0"/>
                        <a:cs typeface="Arial" panose="020B0604020202020204" pitchFamily="34" charset="0"/>
                      </a:endParaRPr>
                    </a:p>
                  </a:txBody>
                  <a:tcPr>
                    <a:lnL w="12700" cmpd="sng">
                      <a:noFill/>
                    </a:lnL>
                    <a:lnR w="12700" cap="flat" cmpd="sng" algn="ctr">
                      <a:solidFill>
                        <a:schemeClr val="tx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80097544"/>
                  </a:ext>
                </a:extLst>
              </a:tr>
              <a:tr h="21201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latin typeface="Arial" panose="020B0604020202020204" pitchFamily="34" charset="0"/>
                          <a:cs typeface="Arial" panose="020B0604020202020204" pitchFamily="34" charset="0"/>
                        </a:rPr>
                        <a:t>Credit related commitments</a:t>
                      </a:r>
                    </a:p>
                  </a:txBody>
                  <a:tcPr>
                    <a:lnL w="12700" cap="flat" cmpd="sng" algn="ctr">
                      <a:solidFill>
                        <a:schemeClr val="tx1"/>
                      </a:solidFill>
                      <a:prstDash val="solid"/>
                      <a:round/>
                      <a:headEnd type="none" w="med" len="med"/>
                      <a:tailEnd type="none" w="med" len="med"/>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dirty="0">
                          <a:latin typeface="Arial" panose="020B0604020202020204" pitchFamily="34" charset="0"/>
                          <a:cs typeface="Arial" panose="020B0604020202020204" pitchFamily="34" charset="0"/>
                        </a:rPr>
                        <a:t>5-100%</a:t>
                      </a:r>
                      <a:endParaRPr lang="ru-RU" sz="1000" dirty="0">
                        <a:latin typeface="Arial" panose="020B0604020202020204" pitchFamily="34" charset="0"/>
                        <a:cs typeface="Arial" panose="020B0604020202020204" pitchFamily="34" charset="0"/>
                      </a:endParaRPr>
                    </a:p>
                  </a:txBody>
                  <a:tcPr>
                    <a:lnL w="12700" cmpd="sng">
                      <a:noFill/>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5929852"/>
                  </a:ext>
                </a:extLst>
              </a:tr>
            </a:tbl>
          </a:graphicData>
        </a:graphic>
      </p:graphicFrame>
      <p:cxnSp>
        <p:nvCxnSpPr>
          <p:cNvPr id="16" name="Прямая со стрелкой 15"/>
          <p:cNvCxnSpPr/>
          <p:nvPr/>
        </p:nvCxnSpPr>
        <p:spPr>
          <a:xfrm flipH="1" flipV="1">
            <a:off x="2107582" y="4463266"/>
            <a:ext cx="5265" cy="318336"/>
          </a:xfrm>
          <a:prstGeom prst="straightConnector1">
            <a:avLst/>
          </a:prstGeom>
          <a:ln>
            <a:solidFill>
              <a:srgbClr val="575757"/>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18" name="Таблица 17"/>
          <p:cNvGraphicFramePr>
            <a:graphicFrameLocks noGrp="1"/>
          </p:cNvGraphicFramePr>
          <p:nvPr/>
        </p:nvGraphicFramePr>
        <p:xfrm>
          <a:off x="3837431" y="4897183"/>
          <a:ext cx="2016964" cy="792480"/>
        </p:xfrm>
        <a:graphic>
          <a:graphicData uri="http://schemas.openxmlformats.org/drawingml/2006/table">
            <a:tbl>
              <a:tblPr firstRow="1" bandRow="1">
                <a:tableStyleId>{5940675A-B579-460E-94D1-54222C63F5DA}</a:tableStyleId>
              </a:tblPr>
              <a:tblGrid>
                <a:gridCol w="1485697">
                  <a:extLst>
                    <a:ext uri="{9D8B030D-6E8A-4147-A177-3AD203B41FA5}">
                      <a16:colId xmlns:a16="http://schemas.microsoft.com/office/drawing/2014/main" val="653383754"/>
                    </a:ext>
                  </a:extLst>
                </a:gridCol>
                <a:gridCol w="531267">
                  <a:extLst>
                    <a:ext uri="{9D8B030D-6E8A-4147-A177-3AD203B41FA5}">
                      <a16:colId xmlns:a16="http://schemas.microsoft.com/office/drawing/2014/main" val="1530598895"/>
                    </a:ext>
                  </a:extLst>
                </a:gridCol>
              </a:tblGrid>
              <a:tr h="212017">
                <a:tc>
                  <a:txBody>
                    <a:bodyPr/>
                    <a:lstStyle/>
                    <a:p>
                      <a:r>
                        <a:rPr lang="en-US" sz="1000" dirty="0">
                          <a:latin typeface="Arial" panose="020B0604020202020204" pitchFamily="34" charset="0"/>
                          <a:cs typeface="Arial" panose="020B0604020202020204" pitchFamily="34" charset="0"/>
                        </a:rPr>
                        <a:t>Interbank loans granted</a:t>
                      </a:r>
                      <a:r>
                        <a:rPr lang="en-US" sz="1000" baseline="0" dirty="0">
                          <a:latin typeface="Arial" panose="020B0604020202020204" pitchFamily="34" charset="0"/>
                          <a:cs typeface="Arial" panose="020B0604020202020204" pitchFamily="34" charset="0"/>
                        </a:rPr>
                        <a:t> &lt;30d</a:t>
                      </a:r>
                      <a:endParaRPr lang="ru-RU" sz="10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r>
                        <a:rPr lang="en-US" sz="1000" dirty="0">
                          <a:latin typeface="Arial" panose="020B0604020202020204" pitchFamily="34" charset="0"/>
                          <a:cs typeface="Arial" panose="020B0604020202020204" pitchFamily="34" charset="0"/>
                        </a:rPr>
                        <a:t>100%</a:t>
                      </a:r>
                      <a:endParaRPr lang="ru-RU" sz="1000" dirty="0">
                        <a:latin typeface="Arial" panose="020B0604020202020204" pitchFamily="34" charset="0"/>
                        <a:cs typeface="Arial" panose="020B0604020202020204" pitchFamily="34" charset="0"/>
                      </a:endParaRPr>
                    </a:p>
                  </a:txBody>
                  <a:tcP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4259100280"/>
                  </a:ext>
                </a:extLst>
              </a:tr>
              <a:tr h="21201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latin typeface="Arial" panose="020B0604020202020204" pitchFamily="34" charset="0"/>
                          <a:cs typeface="Arial" panose="020B0604020202020204" pitchFamily="34" charset="0"/>
                        </a:rPr>
                        <a:t>All</a:t>
                      </a:r>
                      <a:r>
                        <a:rPr lang="en-US" sz="1000" baseline="0" dirty="0">
                          <a:latin typeface="Arial" panose="020B0604020202020204" pitchFamily="34" charset="0"/>
                          <a:cs typeface="Arial" panose="020B0604020202020204" pitchFamily="34" charset="0"/>
                        </a:rPr>
                        <a:t> o</a:t>
                      </a:r>
                      <a:r>
                        <a:rPr lang="en-US" sz="1000" dirty="0">
                          <a:latin typeface="Arial" panose="020B0604020202020204" pitchFamily="34" charset="0"/>
                          <a:cs typeface="Arial" panose="020B0604020202020204" pitchFamily="34" charset="0"/>
                        </a:rPr>
                        <a:t>ther loans granted &lt;30d</a:t>
                      </a:r>
                    </a:p>
                  </a:txBody>
                  <a:tcPr>
                    <a:lnL w="12700" cap="flat" cmpd="sng" algn="ctr">
                      <a:solidFill>
                        <a:schemeClr val="tx1"/>
                      </a:solidFill>
                      <a:prstDash val="solid"/>
                      <a:round/>
                      <a:headEnd type="none" w="med" len="med"/>
                      <a:tailEnd type="none" w="med" len="med"/>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dirty="0">
                          <a:latin typeface="Arial" panose="020B0604020202020204" pitchFamily="34" charset="0"/>
                          <a:cs typeface="Arial" panose="020B0604020202020204" pitchFamily="34" charset="0"/>
                        </a:rPr>
                        <a:t>50%</a:t>
                      </a:r>
                      <a:endParaRPr lang="ru-RU" sz="1000" dirty="0">
                        <a:latin typeface="Arial" panose="020B0604020202020204" pitchFamily="34" charset="0"/>
                        <a:cs typeface="Arial" panose="020B0604020202020204" pitchFamily="34" charset="0"/>
                      </a:endParaRPr>
                    </a:p>
                  </a:txBody>
                  <a:tcPr>
                    <a:lnL w="12700" cmpd="sng">
                      <a:noFill/>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77942498"/>
                  </a:ext>
                </a:extLst>
              </a:tr>
            </a:tbl>
          </a:graphicData>
        </a:graphic>
      </p:graphicFrame>
      <p:cxnSp>
        <p:nvCxnSpPr>
          <p:cNvPr id="19" name="Прямая со стрелкой 18"/>
          <p:cNvCxnSpPr/>
          <p:nvPr/>
        </p:nvCxnSpPr>
        <p:spPr>
          <a:xfrm flipH="1" flipV="1">
            <a:off x="4836070" y="4501321"/>
            <a:ext cx="5265" cy="318336"/>
          </a:xfrm>
          <a:prstGeom prst="straightConnector1">
            <a:avLst/>
          </a:prstGeom>
          <a:ln>
            <a:solidFill>
              <a:srgbClr val="575757"/>
            </a:solidFill>
            <a:tailEnd type="triangle"/>
          </a:ln>
        </p:spPr>
        <p:style>
          <a:lnRef idx="1">
            <a:schemeClr val="accent1"/>
          </a:lnRef>
          <a:fillRef idx="0">
            <a:schemeClr val="accent1"/>
          </a:fillRef>
          <a:effectRef idx="0">
            <a:schemeClr val="accent1"/>
          </a:effectRef>
          <a:fontRef idx="minor">
            <a:schemeClr val="tx1"/>
          </a:fontRef>
        </p:style>
      </p:cxnSp>
      <p:sp>
        <p:nvSpPr>
          <p:cNvPr id="20" name="Прямоугольник 19"/>
          <p:cNvSpPr/>
          <p:nvPr/>
        </p:nvSpPr>
        <p:spPr>
          <a:xfrm>
            <a:off x="6133172" y="606416"/>
            <a:ext cx="5754028" cy="1323439"/>
          </a:xfrm>
          <a:prstGeom prst="rect">
            <a:avLst/>
          </a:prstGeom>
        </p:spPr>
        <p:txBody>
          <a:bodyPr wrap="square">
            <a:spAutoFit/>
          </a:bodyPr>
          <a:lstStyle/>
          <a:p>
            <a:r>
              <a:rPr lang="en-US" sz="1600" b="1" dirty="0">
                <a:latin typeface="Arial" panose="020B0604020202020204" pitchFamily="34" charset="0"/>
                <a:cs typeface="Arial" panose="020B0604020202020204" pitchFamily="34" charset="0"/>
              </a:rPr>
              <a:t>Net stable funding ratio (NSFR) H28 in Russia</a:t>
            </a:r>
          </a:p>
          <a:p>
            <a:endParaRPr lang="en-US" sz="1600" b="1" dirty="0">
              <a:effectLst/>
              <a:latin typeface="Arial" panose="020B0604020202020204" pitchFamily="34" charset="0"/>
              <a:cs typeface="Arial" panose="020B0604020202020204" pitchFamily="34" charset="0"/>
            </a:endParaRPr>
          </a:p>
          <a:p>
            <a:r>
              <a:rPr lang="en-US" sz="1600" b="0" dirty="0">
                <a:effectLst/>
                <a:latin typeface="Arial" panose="020B0604020202020204" pitchFamily="34" charset="0"/>
                <a:cs typeface="Arial" panose="020B0604020202020204" pitchFamily="34" charset="0"/>
              </a:rPr>
              <a:t>Availability of stable funding of the banking group to fund balance assets and credit-related commitments on &gt; 1-year horizon</a:t>
            </a:r>
          </a:p>
        </p:txBody>
      </p:sp>
      <p:graphicFrame>
        <p:nvGraphicFramePr>
          <p:cNvPr id="21" name="Таблица 20"/>
          <p:cNvGraphicFramePr>
            <a:graphicFrameLocks noGrp="1"/>
          </p:cNvGraphicFramePr>
          <p:nvPr/>
        </p:nvGraphicFramePr>
        <p:xfrm>
          <a:off x="6218981" y="1909992"/>
          <a:ext cx="3975730" cy="1219200"/>
        </p:xfrm>
        <a:graphic>
          <a:graphicData uri="http://schemas.openxmlformats.org/drawingml/2006/table">
            <a:tbl>
              <a:tblPr firstRow="1" bandRow="1">
                <a:tableStyleId>{5940675A-B579-460E-94D1-54222C63F5DA}</a:tableStyleId>
              </a:tblPr>
              <a:tblGrid>
                <a:gridCol w="3271345">
                  <a:extLst>
                    <a:ext uri="{9D8B030D-6E8A-4147-A177-3AD203B41FA5}">
                      <a16:colId xmlns:a16="http://schemas.microsoft.com/office/drawing/2014/main" val="653383754"/>
                    </a:ext>
                  </a:extLst>
                </a:gridCol>
                <a:gridCol w="704385">
                  <a:extLst>
                    <a:ext uri="{9D8B030D-6E8A-4147-A177-3AD203B41FA5}">
                      <a16:colId xmlns:a16="http://schemas.microsoft.com/office/drawing/2014/main" val="1530598895"/>
                    </a:ext>
                  </a:extLst>
                </a:gridCol>
              </a:tblGrid>
              <a:tr h="152468">
                <a:tc>
                  <a:txBody>
                    <a:bodyPr/>
                    <a:lstStyle/>
                    <a:p>
                      <a:r>
                        <a:rPr lang="en-US" sz="1000" dirty="0">
                          <a:latin typeface="Arial" panose="020B0604020202020204" pitchFamily="34" charset="0"/>
                          <a:cs typeface="Arial" panose="020B0604020202020204" pitchFamily="34" charset="0"/>
                        </a:rPr>
                        <a:t>Share capital</a:t>
                      </a:r>
                      <a:endParaRPr lang="ru-RU" sz="10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r>
                        <a:rPr lang="en-US" sz="1000" dirty="0">
                          <a:latin typeface="Arial" panose="020B0604020202020204" pitchFamily="34" charset="0"/>
                          <a:cs typeface="Arial" panose="020B0604020202020204" pitchFamily="34" charset="0"/>
                        </a:rPr>
                        <a:t>100%</a:t>
                      </a:r>
                      <a:endParaRPr lang="ru-RU" sz="1000" dirty="0">
                        <a:latin typeface="Arial" panose="020B0604020202020204" pitchFamily="34" charset="0"/>
                        <a:cs typeface="Arial" panose="020B0604020202020204" pitchFamily="34" charset="0"/>
                      </a:endParaRPr>
                    </a:p>
                  </a:txBody>
                  <a:tcP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4259100280"/>
                  </a:ext>
                </a:extLst>
              </a:tr>
              <a:tr h="15246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latin typeface="Arial" panose="020B0604020202020204" pitchFamily="34" charset="0"/>
                          <a:cs typeface="Arial" panose="020B0604020202020204" pitchFamily="34" charset="0"/>
                        </a:rPr>
                        <a:t>Corporate deposits and CA</a:t>
                      </a:r>
                      <a:r>
                        <a:rPr lang="en-US" sz="1000" baseline="0" dirty="0">
                          <a:latin typeface="Arial" panose="020B0604020202020204" pitchFamily="34" charset="0"/>
                          <a:cs typeface="Arial" panose="020B0604020202020204" pitchFamily="34" charset="0"/>
                        </a:rPr>
                        <a:t> &gt;1year</a:t>
                      </a:r>
                      <a:endParaRPr lang="en-US" sz="10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000" dirty="0">
                          <a:latin typeface="Arial" panose="020B0604020202020204" pitchFamily="34" charset="0"/>
                          <a:cs typeface="Arial" panose="020B0604020202020204" pitchFamily="34" charset="0"/>
                        </a:rPr>
                        <a:t>100%</a:t>
                      </a:r>
                      <a:endParaRPr lang="ru-RU" sz="1000" dirty="0">
                        <a:latin typeface="Arial" panose="020B0604020202020204" pitchFamily="34" charset="0"/>
                        <a:cs typeface="Arial" panose="020B0604020202020204" pitchFamily="34" charset="0"/>
                      </a:endParaRPr>
                    </a:p>
                  </a:txBody>
                  <a:tcP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877942498"/>
                  </a:ext>
                </a:extLst>
              </a:tr>
              <a:tr h="15246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latin typeface="Arial" panose="020B0604020202020204" pitchFamily="34" charset="0"/>
                          <a:cs typeface="Arial" panose="020B0604020202020204" pitchFamily="34" charset="0"/>
                        </a:rPr>
                        <a:t>All</a:t>
                      </a:r>
                      <a:r>
                        <a:rPr lang="en-US" sz="1000" baseline="0" dirty="0">
                          <a:latin typeface="Arial" panose="020B0604020202020204" pitchFamily="34" charset="0"/>
                          <a:cs typeface="Arial" panose="020B0604020202020204" pitchFamily="34" charset="0"/>
                        </a:rPr>
                        <a:t> </a:t>
                      </a:r>
                      <a:r>
                        <a:rPr lang="en-US" sz="1000" dirty="0">
                          <a:latin typeface="Arial" panose="020B0604020202020204" pitchFamily="34" charset="0"/>
                          <a:cs typeface="Arial" panose="020B0604020202020204" pitchFamily="34" charset="0"/>
                        </a:rPr>
                        <a:t>retail deposits and CA</a:t>
                      </a: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000" dirty="0">
                          <a:latin typeface="Arial" panose="020B0604020202020204" pitchFamily="34" charset="0"/>
                          <a:cs typeface="Arial" panose="020B0604020202020204" pitchFamily="34" charset="0"/>
                        </a:rPr>
                        <a:t>90%</a:t>
                      </a:r>
                    </a:p>
                  </a:txBody>
                  <a:tcP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276281309"/>
                  </a:ext>
                </a:extLst>
              </a:tr>
              <a:tr h="15246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latin typeface="Arial" panose="020B0604020202020204" pitchFamily="34" charset="0"/>
                          <a:cs typeface="Arial" panose="020B0604020202020204" pitchFamily="34" charset="0"/>
                        </a:rPr>
                        <a:t>Corporate deposits and CA </a:t>
                      </a:r>
                      <a:r>
                        <a:rPr lang="en-US" sz="1000" baseline="0" dirty="0">
                          <a:latin typeface="Arial" panose="020B0604020202020204" pitchFamily="34" charset="0"/>
                          <a:cs typeface="Arial" panose="020B0604020202020204" pitchFamily="34" charset="0"/>
                        </a:rPr>
                        <a:t>&lt;1year</a:t>
                      </a:r>
                      <a:endParaRPr lang="en-US" sz="10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dirty="0">
                          <a:latin typeface="Arial" panose="020B0604020202020204" pitchFamily="34" charset="0"/>
                          <a:cs typeface="Arial" panose="020B0604020202020204" pitchFamily="34" charset="0"/>
                        </a:rPr>
                        <a:t>50%</a:t>
                      </a:r>
                      <a:endParaRPr lang="ru-RU" sz="1000" dirty="0">
                        <a:latin typeface="Arial" panose="020B0604020202020204" pitchFamily="34" charset="0"/>
                        <a:cs typeface="Arial" panose="020B0604020202020204" pitchFamily="34" charset="0"/>
                      </a:endParaRPr>
                    </a:p>
                  </a:txBody>
                  <a:tcPr>
                    <a:lnL w="12700" cmpd="sng">
                      <a:noFill/>
                    </a:lnL>
                    <a:lnR w="12700" cap="flat" cmpd="sng" algn="ctr">
                      <a:solidFill>
                        <a:schemeClr val="tx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92547169"/>
                  </a:ext>
                </a:extLst>
              </a:tr>
              <a:tr h="15246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latin typeface="Arial" panose="020B0604020202020204" pitchFamily="34" charset="0"/>
                          <a:cs typeface="Arial" panose="020B0604020202020204" pitchFamily="34" charset="0"/>
                        </a:rPr>
                        <a:t>All</a:t>
                      </a:r>
                      <a:r>
                        <a:rPr lang="en-US" sz="1000" baseline="0" dirty="0">
                          <a:latin typeface="Arial" panose="020B0604020202020204" pitchFamily="34" charset="0"/>
                          <a:cs typeface="Arial" panose="020B0604020202020204" pitchFamily="34" charset="0"/>
                        </a:rPr>
                        <a:t> other funding (</a:t>
                      </a:r>
                      <a:r>
                        <a:rPr lang="en-US" sz="1000" baseline="0" dirty="0" err="1">
                          <a:latin typeface="Arial" panose="020B0604020202020204" pitchFamily="34" charset="0"/>
                          <a:cs typeface="Arial" panose="020B0604020202020204" pitchFamily="34" charset="0"/>
                        </a:rPr>
                        <a:t>incl</a:t>
                      </a:r>
                      <a:r>
                        <a:rPr lang="en-US" sz="1000" baseline="0" dirty="0">
                          <a:latin typeface="Arial" panose="020B0604020202020204" pitchFamily="34" charset="0"/>
                          <a:cs typeface="Arial" panose="020B0604020202020204" pitchFamily="34" charset="0"/>
                        </a:rPr>
                        <a:t> bonds issued)</a:t>
                      </a:r>
                      <a:endParaRPr lang="en-US" sz="10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dirty="0">
                          <a:latin typeface="Arial" panose="020B0604020202020204" pitchFamily="34" charset="0"/>
                          <a:cs typeface="Arial" panose="020B0604020202020204" pitchFamily="34" charset="0"/>
                        </a:rPr>
                        <a:t>0%</a:t>
                      </a:r>
                      <a:endParaRPr lang="ru-RU" sz="1000" dirty="0">
                        <a:latin typeface="Arial" panose="020B0604020202020204" pitchFamily="34" charset="0"/>
                        <a:cs typeface="Arial" panose="020B0604020202020204" pitchFamily="34" charset="0"/>
                      </a:endParaRPr>
                    </a:p>
                  </a:txBody>
                  <a:tcPr>
                    <a:lnL w="12700" cmpd="sng">
                      <a:noFill/>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4521754"/>
                  </a:ext>
                </a:extLst>
              </a:tr>
            </a:tbl>
          </a:graphicData>
        </a:graphic>
      </p:graphicFrame>
      <p:cxnSp>
        <p:nvCxnSpPr>
          <p:cNvPr id="22" name="Прямая со стрелкой 21"/>
          <p:cNvCxnSpPr/>
          <p:nvPr/>
        </p:nvCxnSpPr>
        <p:spPr>
          <a:xfrm flipH="1">
            <a:off x="8881320" y="3238401"/>
            <a:ext cx="3900" cy="379142"/>
          </a:xfrm>
          <a:prstGeom prst="straightConnector1">
            <a:avLst/>
          </a:prstGeom>
          <a:ln>
            <a:solidFill>
              <a:srgbClr val="575757"/>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23" name="Таблица 22"/>
          <p:cNvGraphicFramePr>
            <a:graphicFrameLocks noGrp="1"/>
          </p:cNvGraphicFramePr>
          <p:nvPr/>
        </p:nvGraphicFramePr>
        <p:xfrm>
          <a:off x="6478291" y="4804265"/>
          <a:ext cx="3975730" cy="1950720"/>
        </p:xfrm>
        <a:graphic>
          <a:graphicData uri="http://schemas.openxmlformats.org/drawingml/2006/table">
            <a:tbl>
              <a:tblPr firstRow="1" bandRow="1">
                <a:tableStyleId>{5940675A-B579-460E-94D1-54222C63F5DA}</a:tableStyleId>
              </a:tblPr>
              <a:tblGrid>
                <a:gridCol w="2928525">
                  <a:extLst>
                    <a:ext uri="{9D8B030D-6E8A-4147-A177-3AD203B41FA5}">
                      <a16:colId xmlns:a16="http://schemas.microsoft.com/office/drawing/2014/main" val="653383754"/>
                    </a:ext>
                  </a:extLst>
                </a:gridCol>
                <a:gridCol w="1047205">
                  <a:extLst>
                    <a:ext uri="{9D8B030D-6E8A-4147-A177-3AD203B41FA5}">
                      <a16:colId xmlns:a16="http://schemas.microsoft.com/office/drawing/2014/main" val="1530598895"/>
                    </a:ext>
                  </a:extLst>
                </a:gridCol>
              </a:tblGrid>
              <a:tr h="212017">
                <a:tc>
                  <a:txBody>
                    <a:bodyPr/>
                    <a:lstStyle/>
                    <a:p>
                      <a:r>
                        <a:rPr lang="en-US" sz="1000" dirty="0">
                          <a:latin typeface="Arial" panose="020B0604020202020204" pitchFamily="34" charset="0"/>
                          <a:cs typeface="Arial" panose="020B0604020202020204" pitchFamily="34" charset="0"/>
                        </a:rPr>
                        <a:t>O/N loans to Central bank</a:t>
                      </a:r>
                      <a:endParaRPr lang="ru-RU" sz="10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r>
                        <a:rPr lang="en-US" sz="1000" dirty="0">
                          <a:latin typeface="Arial" panose="020B0604020202020204" pitchFamily="34" charset="0"/>
                          <a:cs typeface="Arial" panose="020B0604020202020204" pitchFamily="34" charset="0"/>
                        </a:rPr>
                        <a:t>0%</a:t>
                      </a:r>
                      <a:endParaRPr lang="ru-RU" sz="1000" dirty="0">
                        <a:latin typeface="Arial" panose="020B0604020202020204" pitchFamily="34" charset="0"/>
                        <a:cs typeface="Arial" panose="020B0604020202020204" pitchFamily="34" charset="0"/>
                      </a:endParaRPr>
                    </a:p>
                  </a:txBody>
                  <a:tcP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4259100280"/>
                  </a:ext>
                </a:extLst>
              </a:tr>
              <a:tr h="21201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latin typeface="Arial" panose="020B0604020202020204" pitchFamily="34" charset="0"/>
                          <a:cs typeface="Arial" panose="020B0604020202020204" pitchFamily="34" charset="0"/>
                        </a:rPr>
                        <a:t>Sovereign bonds</a:t>
                      </a:r>
                    </a:p>
                  </a:txBody>
                  <a:tcPr>
                    <a:lnL w="12700" cap="flat" cmpd="sng" algn="ctr">
                      <a:solidFill>
                        <a:schemeClr val="tx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dirty="0">
                          <a:latin typeface="Arial" panose="020B0604020202020204" pitchFamily="34" charset="0"/>
                          <a:cs typeface="Arial" panose="020B0604020202020204" pitchFamily="34" charset="0"/>
                        </a:rPr>
                        <a:t>5%</a:t>
                      </a:r>
                      <a:endParaRPr lang="ru-RU" sz="1000" dirty="0">
                        <a:latin typeface="Arial" panose="020B0604020202020204" pitchFamily="34" charset="0"/>
                        <a:cs typeface="Arial" panose="020B0604020202020204" pitchFamily="34" charset="0"/>
                      </a:endParaRPr>
                    </a:p>
                  </a:txBody>
                  <a:tcPr>
                    <a:lnL w="12700" cmpd="sng">
                      <a:noFill/>
                    </a:lnL>
                    <a:lnR w="12700" cap="flat" cmpd="sng" algn="ctr">
                      <a:solidFill>
                        <a:schemeClr val="tx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77942498"/>
                  </a:ext>
                </a:extLst>
              </a:tr>
              <a:tr h="21201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latin typeface="Arial" panose="020B0604020202020204" pitchFamily="34" charset="0"/>
                          <a:cs typeface="Arial" panose="020B0604020202020204" pitchFamily="34" charset="0"/>
                        </a:rPr>
                        <a:t>Corporate bonds (not less than BBB-)</a:t>
                      </a:r>
                    </a:p>
                  </a:txBody>
                  <a:tcPr>
                    <a:lnL w="12700" cap="flat" cmpd="sng" algn="ctr">
                      <a:solidFill>
                        <a:schemeClr val="tx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dirty="0">
                          <a:latin typeface="Arial" panose="020B0604020202020204" pitchFamily="34" charset="0"/>
                          <a:cs typeface="Arial" panose="020B0604020202020204" pitchFamily="34" charset="0"/>
                        </a:rPr>
                        <a:t>15%</a:t>
                      </a:r>
                      <a:endParaRPr lang="ru-RU" sz="1000" dirty="0">
                        <a:latin typeface="Arial" panose="020B0604020202020204" pitchFamily="34" charset="0"/>
                        <a:cs typeface="Arial" panose="020B0604020202020204" pitchFamily="34" charset="0"/>
                      </a:endParaRPr>
                    </a:p>
                  </a:txBody>
                  <a:tcPr>
                    <a:lnL w="12700" cmpd="sng">
                      <a:noFill/>
                    </a:lnL>
                    <a:lnR w="12700" cap="flat" cmpd="sng" algn="ctr">
                      <a:solidFill>
                        <a:schemeClr val="tx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33949049"/>
                  </a:ext>
                </a:extLst>
              </a:tr>
              <a:tr h="21201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latin typeface="Arial" panose="020B0604020202020204" pitchFamily="34" charset="0"/>
                          <a:cs typeface="Arial" panose="020B0604020202020204" pitchFamily="34" charset="0"/>
                        </a:rPr>
                        <a:t>Interbank loans granted</a:t>
                      </a:r>
                      <a:r>
                        <a:rPr lang="en-US" sz="1000" baseline="0" dirty="0">
                          <a:latin typeface="Arial" panose="020B0604020202020204" pitchFamily="34" charset="0"/>
                          <a:cs typeface="Arial" panose="020B0604020202020204" pitchFamily="34" charset="0"/>
                        </a:rPr>
                        <a:t> &lt;6m</a:t>
                      </a:r>
                      <a:endParaRPr lang="ru-RU" sz="10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dirty="0">
                          <a:latin typeface="Arial" panose="020B0604020202020204" pitchFamily="34" charset="0"/>
                          <a:cs typeface="Arial" panose="020B0604020202020204" pitchFamily="34" charset="0"/>
                        </a:rPr>
                        <a:t>15%</a:t>
                      </a:r>
                      <a:endParaRPr lang="ru-RU" sz="1000" dirty="0">
                        <a:latin typeface="Arial" panose="020B0604020202020204" pitchFamily="34" charset="0"/>
                        <a:cs typeface="Arial" panose="020B0604020202020204" pitchFamily="34" charset="0"/>
                      </a:endParaRPr>
                    </a:p>
                  </a:txBody>
                  <a:tcPr>
                    <a:lnL w="12700" cmpd="sng">
                      <a:noFill/>
                    </a:lnL>
                    <a:lnR w="12700" cap="flat" cmpd="sng" algn="ctr">
                      <a:solidFill>
                        <a:schemeClr val="tx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29410104"/>
                  </a:ext>
                </a:extLst>
              </a:tr>
              <a:tr h="21201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latin typeface="Arial" panose="020B0604020202020204" pitchFamily="34" charset="0"/>
                          <a:cs typeface="Arial" panose="020B0604020202020204" pitchFamily="34" charset="0"/>
                        </a:rPr>
                        <a:t>Other loans granted</a:t>
                      </a:r>
                      <a:r>
                        <a:rPr lang="en-US" sz="1000" baseline="0" dirty="0">
                          <a:latin typeface="Arial" panose="020B0604020202020204" pitchFamily="34" charset="0"/>
                          <a:cs typeface="Arial" panose="020B0604020202020204" pitchFamily="34" charset="0"/>
                        </a:rPr>
                        <a:t> &lt; 1 year</a:t>
                      </a:r>
                      <a:endParaRPr lang="en-US" sz="10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dirty="0">
                          <a:latin typeface="Arial" panose="020B0604020202020204" pitchFamily="34" charset="0"/>
                          <a:cs typeface="Arial" panose="020B0604020202020204" pitchFamily="34" charset="0"/>
                        </a:rPr>
                        <a:t>50%</a:t>
                      </a:r>
                      <a:endParaRPr lang="ru-RU" sz="1000" dirty="0">
                        <a:latin typeface="Arial" panose="020B0604020202020204" pitchFamily="34" charset="0"/>
                        <a:cs typeface="Arial" panose="020B0604020202020204" pitchFamily="34" charset="0"/>
                      </a:endParaRPr>
                    </a:p>
                  </a:txBody>
                  <a:tcPr>
                    <a:lnL w="12700" cmpd="sng">
                      <a:noFill/>
                    </a:lnL>
                    <a:lnR w="12700" cap="flat" cmpd="sng" algn="ctr">
                      <a:solidFill>
                        <a:schemeClr val="tx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26221260"/>
                  </a:ext>
                </a:extLst>
              </a:tr>
              <a:tr h="21201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latin typeface="Arial" panose="020B0604020202020204" pitchFamily="34" charset="0"/>
                          <a:cs typeface="Arial" panose="020B0604020202020204" pitchFamily="34" charset="0"/>
                        </a:rPr>
                        <a:t>Other loans granted&gt;</a:t>
                      </a:r>
                      <a:r>
                        <a:rPr lang="en-US" sz="1000" baseline="0" dirty="0">
                          <a:latin typeface="Arial" panose="020B0604020202020204" pitchFamily="34" charset="0"/>
                          <a:cs typeface="Arial" panose="020B0604020202020204" pitchFamily="34" charset="0"/>
                        </a:rPr>
                        <a:t> 1 year</a:t>
                      </a:r>
                      <a:endParaRPr lang="en-US" sz="10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dirty="0">
                          <a:latin typeface="Arial" panose="020B0604020202020204" pitchFamily="34" charset="0"/>
                          <a:cs typeface="Arial" panose="020B0604020202020204" pitchFamily="34" charset="0"/>
                        </a:rPr>
                        <a:t>85%</a:t>
                      </a:r>
                      <a:endParaRPr lang="ru-RU" sz="1000" dirty="0">
                        <a:latin typeface="Arial" panose="020B0604020202020204" pitchFamily="34" charset="0"/>
                        <a:cs typeface="Arial" panose="020B0604020202020204" pitchFamily="34" charset="0"/>
                      </a:endParaRPr>
                    </a:p>
                  </a:txBody>
                  <a:tcPr>
                    <a:lnL w="12700" cmpd="sng">
                      <a:noFill/>
                    </a:lnL>
                    <a:lnR w="12700" cap="flat" cmpd="sng" algn="ctr">
                      <a:solidFill>
                        <a:schemeClr val="tx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4044932"/>
                  </a:ext>
                </a:extLst>
              </a:tr>
              <a:tr h="21201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latin typeface="Arial" panose="020B0604020202020204" pitchFamily="34" charset="0"/>
                          <a:cs typeface="Arial" panose="020B0604020202020204" pitchFamily="34" charset="0"/>
                        </a:rPr>
                        <a:t>Other assets</a:t>
                      </a:r>
                    </a:p>
                  </a:txBody>
                  <a:tcPr>
                    <a:lnL w="12700" cap="flat" cmpd="sng" algn="ctr">
                      <a:solidFill>
                        <a:schemeClr val="tx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dirty="0">
                          <a:latin typeface="Arial" panose="020B0604020202020204" pitchFamily="34" charset="0"/>
                          <a:cs typeface="Arial" panose="020B0604020202020204" pitchFamily="34" charset="0"/>
                        </a:rPr>
                        <a:t>100%</a:t>
                      </a:r>
                      <a:endParaRPr lang="ru-RU" sz="1000" dirty="0">
                        <a:latin typeface="Arial" panose="020B0604020202020204" pitchFamily="34" charset="0"/>
                        <a:cs typeface="Arial" panose="020B0604020202020204" pitchFamily="34" charset="0"/>
                      </a:endParaRPr>
                    </a:p>
                  </a:txBody>
                  <a:tcPr>
                    <a:lnL w="12700" cmpd="sng">
                      <a:noFill/>
                    </a:lnL>
                    <a:lnR w="12700" cap="flat" cmpd="sng" algn="ctr">
                      <a:solidFill>
                        <a:schemeClr val="tx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67122904"/>
                  </a:ext>
                </a:extLst>
              </a:tr>
              <a:tr h="21201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latin typeface="Arial" panose="020B0604020202020204" pitchFamily="34" charset="0"/>
                          <a:cs typeface="Arial" panose="020B0604020202020204" pitchFamily="34" charset="0"/>
                        </a:rPr>
                        <a:t>Credit related</a:t>
                      </a:r>
                      <a:r>
                        <a:rPr lang="en-US" sz="1000" baseline="0" dirty="0">
                          <a:latin typeface="Arial" panose="020B0604020202020204" pitchFamily="34" charset="0"/>
                          <a:cs typeface="Arial" panose="020B0604020202020204" pitchFamily="34" charset="0"/>
                        </a:rPr>
                        <a:t> commitments</a:t>
                      </a:r>
                      <a:endParaRPr lang="en-US" sz="10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dirty="0">
                          <a:latin typeface="Arial" panose="020B0604020202020204" pitchFamily="34" charset="0"/>
                          <a:cs typeface="Arial" panose="020B0604020202020204" pitchFamily="34" charset="0"/>
                        </a:rPr>
                        <a:t>5%</a:t>
                      </a:r>
                      <a:endParaRPr lang="ru-RU" sz="1000" dirty="0">
                        <a:latin typeface="Arial" panose="020B0604020202020204" pitchFamily="34" charset="0"/>
                        <a:cs typeface="Arial" panose="020B0604020202020204" pitchFamily="34" charset="0"/>
                      </a:endParaRPr>
                    </a:p>
                  </a:txBody>
                  <a:tcPr>
                    <a:lnL w="12700" cmpd="sng">
                      <a:noFill/>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66237675"/>
                  </a:ext>
                </a:extLst>
              </a:tr>
            </a:tbl>
          </a:graphicData>
        </a:graphic>
      </p:graphicFrame>
      <p:cxnSp>
        <p:nvCxnSpPr>
          <p:cNvPr id="24" name="Прямая со стрелкой 23"/>
          <p:cNvCxnSpPr/>
          <p:nvPr/>
        </p:nvCxnSpPr>
        <p:spPr>
          <a:xfrm flipH="1" flipV="1">
            <a:off x="8885220" y="4417286"/>
            <a:ext cx="5265" cy="318336"/>
          </a:xfrm>
          <a:prstGeom prst="straightConnector1">
            <a:avLst/>
          </a:prstGeom>
          <a:ln>
            <a:solidFill>
              <a:srgbClr val="575757"/>
            </a:solidFill>
            <a:tailEnd type="triangle"/>
          </a:ln>
        </p:spPr>
        <p:style>
          <a:lnRef idx="1">
            <a:schemeClr val="accent1"/>
          </a:lnRef>
          <a:fillRef idx="0">
            <a:schemeClr val="accent1"/>
          </a:fillRef>
          <a:effectRef idx="0">
            <a:schemeClr val="accent1"/>
          </a:effectRef>
          <a:fontRef idx="minor">
            <a:schemeClr val="tx1"/>
          </a:fontRef>
        </p:style>
      </p:cxnSp>
      <p:cxnSp>
        <p:nvCxnSpPr>
          <p:cNvPr id="25" name="Прямая соединительная линия 24"/>
          <p:cNvCxnSpPr/>
          <p:nvPr/>
        </p:nvCxnSpPr>
        <p:spPr>
          <a:xfrm>
            <a:off x="6050170" y="551129"/>
            <a:ext cx="0" cy="6127531"/>
          </a:xfrm>
          <a:prstGeom prst="line">
            <a:avLst/>
          </a:prstGeom>
          <a:ln w="12700">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5693952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5</a:t>
            </a:fld>
            <a:endParaRPr lang="en-US" dirty="0"/>
          </a:p>
        </p:txBody>
      </p:sp>
      <p:sp>
        <p:nvSpPr>
          <p:cNvPr id="5" name="TextBox 4">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Interest rate parity and cost of OCP hedging</a:t>
            </a:r>
          </a:p>
        </p:txBody>
      </p:sp>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EF616F69-F834-3FC2-4471-4C1286E1C95B}"/>
                  </a:ext>
                </a:extLst>
              </p:cNvPr>
              <p:cNvSpPr txBox="1"/>
              <p:nvPr/>
            </p:nvSpPr>
            <p:spPr>
              <a:xfrm>
                <a:off x="527902" y="904107"/>
                <a:ext cx="4742778" cy="5927585"/>
              </a:xfrm>
              <a:prstGeom prst="rect">
                <a:avLst/>
              </a:prstGeom>
              <a:noFill/>
            </p:spPr>
            <p:txBody>
              <a:bodyPr wrap="square" rtlCol="0">
                <a:spAutoFit/>
              </a:bodyPr>
              <a:lstStyle/>
              <a:p>
                <a:r>
                  <a:rPr lang="en-US" sz="2000" b="1" dirty="0"/>
                  <a:t>Concept of interest rate parity:</a:t>
                </a:r>
              </a:p>
              <a:p>
                <a:endParaRPr lang="en-US" sz="2000" b="1" dirty="0"/>
              </a:p>
              <a:p>
                <a:r>
                  <a:rPr lang="en-US" sz="2000" dirty="0"/>
                  <a:t>The inputs are:</a:t>
                </a:r>
              </a:p>
              <a:p>
                <a:endParaRPr lang="en-US" sz="2000" dirty="0"/>
              </a:p>
              <a:p>
                <a:endParaRPr lang="en-US" sz="2000" dirty="0"/>
              </a:p>
              <a:p>
                <a:endParaRPr lang="en-US" sz="2000" dirty="0"/>
              </a:p>
              <a:p>
                <a:endParaRPr lang="en-US" sz="2000" dirty="0"/>
              </a:p>
              <a:p>
                <a:endParaRPr lang="en-US" sz="2000" dirty="0"/>
              </a:p>
              <a:p>
                <a:endParaRPr lang="en-US" sz="2000" dirty="0"/>
              </a:p>
              <a:p>
                <a:endParaRPr lang="nl-NL" sz="2000" dirty="0"/>
              </a:p>
              <a:p>
                <a:endParaRPr lang="nl-NL" sz="2000" dirty="0"/>
              </a:p>
              <a:p>
                <a:r>
                  <a:rPr lang="nl-NL" sz="2000" dirty="0" err="1"/>
                  <a:t>If</a:t>
                </a:r>
                <a:r>
                  <a:rPr lang="nl-NL" sz="2000" dirty="0"/>
                  <a:t> we </a:t>
                </a:r>
                <a:r>
                  <a:rPr lang="nl-NL" sz="2000" dirty="0" err="1"/>
                  <a:t>assume</a:t>
                </a:r>
                <a:r>
                  <a:rPr lang="nl-NL" sz="2000" dirty="0"/>
                  <a:t> no arbitrage, </a:t>
                </a:r>
                <a:r>
                  <a:rPr lang="nl-NL" sz="2000" dirty="0" err="1"/>
                  <a:t>the</a:t>
                </a:r>
                <a:r>
                  <a:rPr lang="nl-NL" sz="2000" dirty="0"/>
                  <a:t> </a:t>
                </a:r>
                <a:r>
                  <a:rPr lang="nl-NL" sz="2000" dirty="0" err="1"/>
                  <a:t>following</a:t>
                </a:r>
                <a:r>
                  <a:rPr lang="nl-NL" sz="2000" dirty="0"/>
                  <a:t> </a:t>
                </a:r>
                <a:r>
                  <a:rPr lang="nl-NL" sz="2000" dirty="0" err="1"/>
                  <a:t>equation</a:t>
                </a:r>
                <a:r>
                  <a:rPr lang="nl-NL" sz="2000" dirty="0"/>
                  <a:t> </a:t>
                </a:r>
                <a:r>
                  <a:rPr lang="nl-NL" sz="2000" dirty="0" err="1"/>
                  <a:t>should</a:t>
                </a:r>
                <a:r>
                  <a:rPr lang="nl-NL" sz="2000" dirty="0"/>
                  <a:t> </a:t>
                </a:r>
                <a:r>
                  <a:rPr lang="nl-NL" sz="2000" dirty="0" err="1"/>
                  <a:t>be</a:t>
                </a:r>
                <a:r>
                  <a:rPr lang="nl-NL" sz="2000" dirty="0"/>
                  <a:t> fair: </a:t>
                </a:r>
              </a:p>
              <a:p>
                <a:pPr/>
                <a14:m>
                  <m:oMathPara xmlns:m="http://schemas.openxmlformats.org/officeDocument/2006/math">
                    <m:oMathParaPr>
                      <m:jc m:val="left"/>
                    </m:oMathParaPr>
                    <m:oMath xmlns:m="http://schemas.openxmlformats.org/officeDocument/2006/math">
                      <m:r>
                        <m:rPr>
                          <m:nor/>
                        </m:rPr>
                        <a:rPr lang="nl-NL" sz="2000" dirty="0">
                          <a:latin typeface="Cambria Math" panose="02040503050406030204" pitchFamily="18" charset="0"/>
                          <a:ea typeface="Cambria Math" panose="02040503050406030204" pitchFamily="18" charset="0"/>
                        </a:rPr>
                        <m:t>PV</m:t>
                      </m:r>
                      <m:r>
                        <m:rPr>
                          <m:nor/>
                        </m:rPr>
                        <a:rPr lang="nl-NL" sz="2000" baseline="-25000" dirty="0">
                          <a:latin typeface="Cambria Math" panose="02040503050406030204" pitchFamily="18" charset="0"/>
                          <a:ea typeface="Cambria Math" panose="02040503050406030204" pitchFamily="18" charset="0"/>
                        </a:rPr>
                        <m:t>1</m:t>
                      </m:r>
                      <m:r>
                        <m:rPr>
                          <m:nor/>
                        </m:rPr>
                        <a:rPr lang="nl-NL" sz="2000" dirty="0">
                          <a:latin typeface="Cambria Math" panose="02040503050406030204" pitchFamily="18" charset="0"/>
                          <a:ea typeface="Cambria Math" panose="02040503050406030204" pitchFamily="18" charset="0"/>
                        </a:rPr>
                        <m:t>∗(1+</m:t>
                      </m:r>
                      <m:r>
                        <m:rPr>
                          <m:nor/>
                        </m:rPr>
                        <a:rPr lang="nl-NL" sz="2000" dirty="0">
                          <a:latin typeface="Cambria Math" panose="02040503050406030204" pitchFamily="18" charset="0"/>
                          <a:ea typeface="Cambria Math" panose="02040503050406030204" pitchFamily="18" charset="0"/>
                        </a:rPr>
                        <m:t>R</m:t>
                      </m:r>
                      <m:r>
                        <m:rPr>
                          <m:nor/>
                        </m:rPr>
                        <a:rPr lang="nl-NL" sz="2000" baseline="-25000" dirty="0">
                          <a:latin typeface="Cambria Math" panose="02040503050406030204" pitchFamily="18" charset="0"/>
                          <a:ea typeface="Cambria Math" panose="02040503050406030204" pitchFamily="18" charset="0"/>
                        </a:rPr>
                        <m:t>1</m:t>
                      </m:r>
                      <m:r>
                        <m:rPr>
                          <m:nor/>
                        </m:rPr>
                        <a:rPr lang="en-US" sz="2000" dirty="0">
                          <a:latin typeface="Cambria Math" panose="02040503050406030204" pitchFamily="18" charset="0"/>
                          <a:ea typeface="Cambria Math" panose="02040503050406030204" pitchFamily="18" charset="0"/>
                        </a:rPr>
                        <m:t>∗</m:t>
                      </m:r>
                      <m:r>
                        <m:rPr>
                          <m:nor/>
                        </m:rPr>
                        <a:rPr lang="en-US" sz="2000" dirty="0">
                          <a:latin typeface="Cambria Math" panose="02040503050406030204" pitchFamily="18" charset="0"/>
                          <a:ea typeface="Cambria Math" panose="02040503050406030204" pitchFamily="18" charset="0"/>
                        </a:rPr>
                        <m:t>t</m:t>
                      </m:r>
                      <m:r>
                        <m:rPr>
                          <m:nor/>
                        </m:rPr>
                        <a:rPr lang="nl-NL" sz="2000" dirty="0">
                          <a:latin typeface="Cambria Math" panose="02040503050406030204" pitchFamily="18" charset="0"/>
                          <a:ea typeface="Cambria Math" panose="02040503050406030204" pitchFamily="18" charset="0"/>
                        </a:rPr>
                        <m:t>)=</m:t>
                      </m:r>
                      <m:f>
                        <m:fPr>
                          <m:ctrlPr>
                            <a:rPr lang="nl-NL" sz="2000" i="1" dirty="0" smtClean="0">
                              <a:latin typeface="Cambria Math" panose="02040503050406030204" pitchFamily="18" charset="0"/>
                              <a:ea typeface="Cambria Math" panose="02040503050406030204" pitchFamily="18" charset="0"/>
                            </a:rPr>
                          </m:ctrlPr>
                        </m:fPr>
                        <m:num>
                          <m:r>
                            <m:rPr>
                              <m:sty m:val="p"/>
                            </m:rPr>
                            <a:rPr lang="en-US" sz="2000" b="0" i="0" dirty="0" smtClean="0">
                              <a:latin typeface="Cambria Math" panose="02040503050406030204" pitchFamily="18" charset="0"/>
                              <a:ea typeface="Cambria Math" panose="02040503050406030204" pitchFamily="18" charset="0"/>
                            </a:rPr>
                            <m:t>PV</m:t>
                          </m:r>
                          <m:r>
                            <a:rPr lang="en-US" sz="2000" b="0" i="0" baseline="-25000" dirty="0" smtClean="0">
                              <a:latin typeface="Cambria Math" panose="02040503050406030204" pitchFamily="18" charset="0"/>
                              <a:ea typeface="Cambria Math" panose="02040503050406030204" pitchFamily="18" charset="0"/>
                            </a:rPr>
                            <m:t>1</m:t>
                          </m:r>
                        </m:num>
                        <m:den>
                          <m:r>
                            <m:rPr>
                              <m:sty m:val="p"/>
                            </m:rPr>
                            <a:rPr lang="en-US" sz="2000" b="0" i="0" dirty="0" smtClean="0">
                              <a:latin typeface="Cambria Math" panose="02040503050406030204" pitchFamily="18" charset="0"/>
                              <a:ea typeface="Cambria Math" panose="02040503050406030204" pitchFamily="18" charset="0"/>
                            </a:rPr>
                            <m:t>S</m:t>
                          </m:r>
                        </m:den>
                      </m:f>
                      <m:r>
                        <a:rPr lang="en-US" sz="2000" b="0" i="0" smtClean="0">
                          <a:latin typeface="Cambria Math" panose="02040503050406030204" pitchFamily="18" charset="0"/>
                          <a:ea typeface="Cambria Math" panose="02040503050406030204" pitchFamily="18" charset="0"/>
                        </a:rPr>
                        <m:t>∗</m:t>
                      </m:r>
                      <m:r>
                        <m:rPr>
                          <m:nor/>
                        </m:rPr>
                        <a:rPr lang="nl-NL" sz="2000" dirty="0">
                          <a:latin typeface="Cambria Math" panose="02040503050406030204" pitchFamily="18" charset="0"/>
                          <a:ea typeface="Cambria Math" panose="02040503050406030204" pitchFamily="18" charset="0"/>
                        </a:rPr>
                        <m:t>(1+</m:t>
                      </m:r>
                      <m:r>
                        <m:rPr>
                          <m:nor/>
                        </m:rPr>
                        <a:rPr lang="nl-NL" sz="2000" dirty="0">
                          <a:latin typeface="Cambria Math" panose="02040503050406030204" pitchFamily="18" charset="0"/>
                          <a:ea typeface="Cambria Math" panose="02040503050406030204" pitchFamily="18" charset="0"/>
                        </a:rPr>
                        <m:t>R</m:t>
                      </m:r>
                      <m:r>
                        <m:rPr>
                          <m:nor/>
                        </m:rPr>
                        <a:rPr lang="en-US" sz="2000" b="0" i="0" baseline="-25000" dirty="0" smtClean="0">
                          <a:latin typeface="Cambria Math" panose="02040503050406030204" pitchFamily="18" charset="0"/>
                          <a:ea typeface="Cambria Math" panose="02040503050406030204" pitchFamily="18" charset="0"/>
                        </a:rPr>
                        <m:t>2</m:t>
                      </m:r>
                      <m:r>
                        <m:rPr>
                          <m:nor/>
                        </m:rPr>
                        <a:rPr lang="en-US" sz="2000" dirty="0">
                          <a:latin typeface="Cambria Math" panose="02040503050406030204" pitchFamily="18" charset="0"/>
                          <a:ea typeface="Cambria Math" panose="02040503050406030204" pitchFamily="18" charset="0"/>
                        </a:rPr>
                        <m:t>∗</m:t>
                      </m:r>
                      <m:r>
                        <m:rPr>
                          <m:nor/>
                        </m:rPr>
                        <a:rPr lang="en-US" sz="2000" dirty="0">
                          <a:latin typeface="Cambria Math" panose="02040503050406030204" pitchFamily="18" charset="0"/>
                          <a:ea typeface="Cambria Math" panose="02040503050406030204" pitchFamily="18" charset="0"/>
                        </a:rPr>
                        <m:t>t</m:t>
                      </m:r>
                      <m:r>
                        <m:rPr>
                          <m:nor/>
                        </m:rPr>
                        <a:rPr lang="nl-NL" sz="2000" dirty="0">
                          <a:latin typeface="Cambria Math" panose="02040503050406030204" pitchFamily="18" charset="0"/>
                          <a:ea typeface="Cambria Math" panose="02040503050406030204" pitchFamily="18" charset="0"/>
                        </a:rPr>
                        <m:t>)</m:t>
                      </m:r>
                      <m:r>
                        <m:rPr>
                          <m:nor/>
                        </m:rPr>
                        <a:rPr lang="en-US" sz="2000" b="0" i="0" dirty="0" smtClean="0">
                          <a:latin typeface="Cambria Math" panose="02040503050406030204" pitchFamily="18" charset="0"/>
                          <a:ea typeface="Cambria Math" panose="02040503050406030204" pitchFamily="18" charset="0"/>
                        </a:rPr>
                        <m:t>∗</m:t>
                      </m:r>
                      <m:r>
                        <m:rPr>
                          <m:nor/>
                        </m:rPr>
                        <a:rPr lang="en-US" sz="2000" b="0" i="0" dirty="0" smtClean="0">
                          <a:latin typeface="Cambria Math" panose="02040503050406030204" pitchFamily="18" charset="0"/>
                          <a:ea typeface="Cambria Math" panose="02040503050406030204" pitchFamily="18" charset="0"/>
                        </a:rPr>
                        <m:t>F</m:t>
                      </m:r>
                      <m:r>
                        <m:rPr>
                          <m:nor/>
                        </m:rPr>
                        <a:rPr lang="en-US" sz="2000" b="0" i="0" dirty="0" smtClean="0">
                          <a:latin typeface="Cambria Math" panose="02040503050406030204" pitchFamily="18" charset="0"/>
                          <a:ea typeface="Cambria Math" panose="02040503050406030204" pitchFamily="18" charset="0"/>
                        </a:rPr>
                        <m:t> </m:t>
                      </m:r>
                    </m:oMath>
                  </m:oMathPara>
                </a14:m>
                <a:endParaRPr lang="en-US" sz="2000" b="0" i="0" dirty="0">
                  <a:latin typeface="Cambria Math" panose="02040503050406030204" pitchFamily="18" charset="0"/>
                  <a:ea typeface="Cambria Math" panose="02040503050406030204" pitchFamily="18" charset="0"/>
                </a:endParaRPr>
              </a:p>
              <a:p>
                <a:endParaRPr lang="en-US" sz="2000" b="0" i="0" dirty="0">
                  <a:latin typeface="Cambria Math" panose="02040503050406030204" pitchFamily="18" charset="0"/>
                  <a:ea typeface="Cambria Math" panose="02040503050406030204" pitchFamily="18" charset="0"/>
                </a:endParaRPr>
              </a:p>
              <a:p>
                <a:r>
                  <a:rPr lang="en-US" sz="2000" dirty="0"/>
                  <a:t>Hence:</a:t>
                </a:r>
              </a:p>
              <a:p>
                <a:pPr/>
                <a14:m>
                  <m:oMathPara xmlns:m="http://schemas.openxmlformats.org/officeDocument/2006/math">
                    <m:oMathParaPr>
                      <m:jc m:val="left"/>
                    </m:oMathParaPr>
                    <m:oMath xmlns:m="http://schemas.openxmlformats.org/officeDocument/2006/math">
                      <m:r>
                        <m:rPr>
                          <m:nor/>
                        </m:rPr>
                        <a:rPr lang="en-US" sz="2000" b="1" i="0" dirty="0" smtClean="0">
                          <a:latin typeface="Cambria Math" panose="02040503050406030204" pitchFamily="18" charset="0"/>
                          <a:ea typeface="Cambria Math" panose="02040503050406030204" pitchFamily="18" charset="0"/>
                        </a:rPr>
                        <m:t>F</m:t>
                      </m:r>
                      <m:r>
                        <m:rPr>
                          <m:nor/>
                        </m:rPr>
                        <a:rPr lang="en-US" sz="2000" b="1" i="0" dirty="0" smtClean="0">
                          <a:latin typeface="Cambria Math" panose="02040503050406030204" pitchFamily="18" charset="0"/>
                          <a:ea typeface="Cambria Math" panose="02040503050406030204" pitchFamily="18" charset="0"/>
                        </a:rPr>
                        <m:t>=</m:t>
                      </m:r>
                      <m:r>
                        <a:rPr lang="en-US" sz="2000" b="1" i="1" dirty="0" smtClean="0">
                          <a:latin typeface="Cambria Math" panose="02040503050406030204" pitchFamily="18" charset="0"/>
                          <a:ea typeface="Cambria Math" panose="02040503050406030204" pitchFamily="18" charset="0"/>
                        </a:rPr>
                        <m:t>𝑺</m:t>
                      </m:r>
                      <m:r>
                        <a:rPr lang="en-US" sz="2000" b="1" i="1" dirty="0" smtClean="0">
                          <a:latin typeface="Cambria Math" panose="02040503050406030204" pitchFamily="18" charset="0"/>
                          <a:ea typeface="Cambria Math" panose="02040503050406030204" pitchFamily="18" charset="0"/>
                        </a:rPr>
                        <m:t>∗</m:t>
                      </m:r>
                      <m:f>
                        <m:fPr>
                          <m:ctrlPr>
                            <a:rPr lang="en-US" sz="2000" b="1" i="1" dirty="0" smtClean="0">
                              <a:latin typeface="Cambria Math" panose="02040503050406030204" pitchFamily="18" charset="0"/>
                              <a:ea typeface="Cambria Math" panose="02040503050406030204" pitchFamily="18" charset="0"/>
                            </a:rPr>
                          </m:ctrlPr>
                        </m:fPr>
                        <m:num>
                          <m:r>
                            <a:rPr lang="en-US" sz="2000" b="1" i="1" dirty="0" smtClean="0">
                              <a:latin typeface="Cambria Math" panose="02040503050406030204" pitchFamily="18" charset="0"/>
                              <a:ea typeface="Cambria Math" panose="02040503050406030204" pitchFamily="18" charset="0"/>
                            </a:rPr>
                            <m:t>(</m:t>
                          </m:r>
                          <m:r>
                            <a:rPr lang="en-US" sz="2000" b="1" i="1" dirty="0" smtClean="0">
                              <a:latin typeface="Cambria Math" panose="02040503050406030204" pitchFamily="18" charset="0"/>
                              <a:ea typeface="Cambria Math" panose="02040503050406030204" pitchFamily="18" charset="0"/>
                            </a:rPr>
                            <m:t>𝟏</m:t>
                          </m:r>
                          <m:r>
                            <a:rPr lang="en-US" sz="2000" b="1" i="1" dirty="0" smtClean="0">
                              <a:latin typeface="Cambria Math" panose="02040503050406030204" pitchFamily="18" charset="0"/>
                              <a:ea typeface="Cambria Math" panose="02040503050406030204" pitchFamily="18" charset="0"/>
                            </a:rPr>
                            <m:t>+</m:t>
                          </m:r>
                          <m:r>
                            <a:rPr lang="en-US" sz="2000" b="1" i="1" dirty="0" smtClean="0">
                              <a:latin typeface="Cambria Math" panose="02040503050406030204" pitchFamily="18" charset="0"/>
                              <a:ea typeface="Cambria Math" panose="02040503050406030204" pitchFamily="18" charset="0"/>
                            </a:rPr>
                            <m:t>𝑹</m:t>
                          </m:r>
                          <m:r>
                            <m:rPr>
                              <m:nor/>
                            </m:rPr>
                            <a:rPr lang="nl-NL" sz="2000" b="1" baseline="-25000" dirty="0">
                              <a:latin typeface="Cambria Math" panose="02040503050406030204" pitchFamily="18" charset="0"/>
                              <a:ea typeface="Cambria Math" panose="02040503050406030204" pitchFamily="18" charset="0"/>
                            </a:rPr>
                            <m:t>1</m:t>
                          </m:r>
                          <m:r>
                            <m:rPr>
                              <m:nor/>
                            </m:rPr>
                            <a:rPr lang="en-US" sz="2000" b="1" dirty="0">
                              <a:latin typeface="Cambria Math" panose="02040503050406030204" pitchFamily="18" charset="0"/>
                              <a:ea typeface="Cambria Math" panose="02040503050406030204" pitchFamily="18" charset="0"/>
                            </a:rPr>
                            <m:t>∗</m:t>
                          </m:r>
                          <m:r>
                            <m:rPr>
                              <m:nor/>
                            </m:rPr>
                            <a:rPr lang="en-US" sz="2000" b="1" dirty="0">
                              <a:latin typeface="Cambria Math" panose="02040503050406030204" pitchFamily="18" charset="0"/>
                              <a:ea typeface="Cambria Math" panose="02040503050406030204" pitchFamily="18" charset="0"/>
                            </a:rPr>
                            <m:t>t</m:t>
                          </m:r>
                          <m:r>
                            <m:rPr>
                              <m:nor/>
                            </m:rPr>
                            <a:rPr lang="en-US" sz="2000" b="1" dirty="0">
                              <a:latin typeface="Cambria Math" panose="02040503050406030204" pitchFamily="18" charset="0"/>
                              <a:ea typeface="Cambria Math" panose="02040503050406030204" pitchFamily="18" charset="0"/>
                            </a:rPr>
                            <m:t>)</m:t>
                          </m:r>
                        </m:num>
                        <m:den>
                          <m:r>
                            <a:rPr lang="en-US" sz="2000" b="1" i="1" dirty="0">
                              <a:latin typeface="Cambria Math" panose="02040503050406030204" pitchFamily="18" charset="0"/>
                              <a:ea typeface="Cambria Math" panose="02040503050406030204" pitchFamily="18" charset="0"/>
                            </a:rPr>
                            <m:t>(</m:t>
                          </m:r>
                          <m:r>
                            <a:rPr lang="en-US" sz="2000" b="1" i="1" dirty="0">
                              <a:latin typeface="Cambria Math" panose="02040503050406030204" pitchFamily="18" charset="0"/>
                              <a:ea typeface="Cambria Math" panose="02040503050406030204" pitchFamily="18" charset="0"/>
                            </a:rPr>
                            <m:t>𝟏</m:t>
                          </m:r>
                          <m:r>
                            <a:rPr lang="en-US" sz="2000" b="1" i="1" dirty="0">
                              <a:latin typeface="Cambria Math" panose="02040503050406030204" pitchFamily="18" charset="0"/>
                              <a:ea typeface="Cambria Math" panose="02040503050406030204" pitchFamily="18" charset="0"/>
                            </a:rPr>
                            <m:t>+</m:t>
                          </m:r>
                          <m:r>
                            <a:rPr lang="en-US" sz="2000" b="1" i="1" dirty="0">
                              <a:latin typeface="Cambria Math" panose="02040503050406030204" pitchFamily="18" charset="0"/>
                              <a:ea typeface="Cambria Math" panose="02040503050406030204" pitchFamily="18" charset="0"/>
                            </a:rPr>
                            <m:t>𝑹</m:t>
                          </m:r>
                          <m:r>
                            <m:rPr>
                              <m:nor/>
                            </m:rPr>
                            <a:rPr lang="en-US" sz="2000" b="1" i="0" baseline="-25000" dirty="0" smtClean="0">
                              <a:latin typeface="Cambria Math" panose="02040503050406030204" pitchFamily="18" charset="0"/>
                              <a:ea typeface="Cambria Math" panose="02040503050406030204" pitchFamily="18" charset="0"/>
                            </a:rPr>
                            <m:t>2</m:t>
                          </m:r>
                          <m:r>
                            <m:rPr>
                              <m:nor/>
                            </m:rPr>
                            <a:rPr lang="en-US" sz="2000" b="1" dirty="0">
                              <a:latin typeface="Cambria Math" panose="02040503050406030204" pitchFamily="18" charset="0"/>
                              <a:ea typeface="Cambria Math" panose="02040503050406030204" pitchFamily="18" charset="0"/>
                            </a:rPr>
                            <m:t>∗</m:t>
                          </m:r>
                          <m:r>
                            <m:rPr>
                              <m:nor/>
                            </m:rPr>
                            <a:rPr lang="en-US" sz="2000" b="1" dirty="0">
                              <a:latin typeface="Cambria Math" panose="02040503050406030204" pitchFamily="18" charset="0"/>
                              <a:ea typeface="Cambria Math" panose="02040503050406030204" pitchFamily="18" charset="0"/>
                            </a:rPr>
                            <m:t>t</m:t>
                          </m:r>
                          <m:r>
                            <m:rPr>
                              <m:nor/>
                            </m:rPr>
                            <a:rPr lang="en-US" sz="2000" b="1" dirty="0">
                              <a:latin typeface="Cambria Math" panose="02040503050406030204" pitchFamily="18" charset="0"/>
                              <a:ea typeface="Cambria Math" panose="02040503050406030204" pitchFamily="18" charset="0"/>
                            </a:rPr>
                            <m:t>)</m:t>
                          </m:r>
                        </m:den>
                      </m:f>
                      <m:r>
                        <a:rPr lang="en-US" sz="2000" b="1" i="1" dirty="0" smtClean="0">
                          <a:latin typeface="Cambria Math" panose="02040503050406030204" pitchFamily="18" charset="0"/>
                          <a:ea typeface="Cambria Math" panose="02040503050406030204" pitchFamily="18" charset="0"/>
                        </a:rPr>
                        <m:t>=</m:t>
                      </m:r>
                      <m:r>
                        <a:rPr lang="en-US" sz="2000" b="1" i="1" dirty="0" smtClean="0">
                          <a:latin typeface="Cambria Math" panose="02040503050406030204" pitchFamily="18" charset="0"/>
                          <a:ea typeface="Cambria Math" panose="02040503050406030204" pitchFamily="18" charset="0"/>
                        </a:rPr>
                        <m:t>𝟕𝟑</m:t>
                      </m:r>
                      <m:r>
                        <a:rPr lang="en-US" sz="2000" b="1" i="1" dirty="0" smtClean="0">
                          <a:latin typeface="Cambria Math" panose="02040503050406030204" pitchFamily="18" charset="0"/>
                          <a:ea typeface="Cambria Math" panose="02040503050406030204" pitchFamily="18" charset="0"/>
                        </a:rPr>
                        <m:t>.</m:t>
                      </m:r>
                      <m:r>
                        <a:rPr lang="en-US" sz="2000" b="1" i="1" dirty="0" smtClean="0">
                          <a:latin typeface="Cambria Math" panose="02040503050406030204" pitchFamily="18" charset="0"/>
                          <a:ea typeface="Cambria Math" panose="02040503050406030204" pitchFamily="18" charset="0"/>
                        </a:rPr>
                        <m:t>𝟓</m:t>
                      </m:r>
                    </m:oMath>
                  </m:oMathPara>
                </a14:m>
                <a:endParaRPr lang="en-NL" sz="2000" b="1" dirty="0">
                  <a:latin typeface="Cambria Math" panose="02040503050406030204" pitchFamily="18" charset="0"/>
                  <a:ea typeface="Cambria Math" panose="02040503050406030204" pitchFamily="18" charset="0"/>
                </a:endParaRPr>
              </a:p>
            </p:txBody>
          </p:sp>
        </mc:Choice>
        <mc:Fallback xmlns="">
          <p:sp>
            <p:nvSpPr>
              <p:cNvPr id="7" name="TextBox 6">
                <a:extLst>
                  <a:ext uri="{FF2B5EF4-FFF2-40B4-BE49-F238E27FC236}">
                    <a16:creationId xmlns:a16="http://schemas.microsoft.com/office/drawing/2014/main" id="{EF616F69-F834-3FC2-4471-4C1286E1C95B}"/>
                  </a:ext>
                </a:extLst>
              </p:cNvPr>
              <p:cNvSpPr txBox="1">
                <a:spLocks noRot="1" noChangeAspect="1" noMove="1" noResize="1" noEditPoints="1" noAdjustHandles="1" noChangeArrowheads="1" noChangeShapeType="1" noTextEdit="1"/>
              </p:cNvSpPr>
              <p:nvPr/>
            </p:nvSpPr>
            <p:spPr>
              <a:xfrm>
                <a:off x="527902" y="904107"/>
                <a:ext cx="4742778" cy="5927585"/>
              </a:xfrm>
              <a:prstGeom prst="rect">
                <a:avLst/>
              </a:prstGeom>
              <a:blipFill>
                <a:blip r:embed="rId2"/>
                <a:stretch>
                  <a:fillRect l="-1414" t="-514"/>
                </a:stretch>
              </a:blipFill>
            </p:spPr>
            <p:txBody>
              <a:bodyPr/>
              <a:lstStyle/>
              <a:p>
                <a:r>
                  <a:rPr lang="en-NL">
                    <a:noFill/>
                  </a:rPr>
                  <a:t> </a:t>
                </a:r>
              </a:p>
            </p:txBody>
          </p:sp>
        </mc:Fallback>
      </mc:AlternateContent>
      <p:pic>
        <p:nvPicPr>
          <p:cNvPr id="21" name="Picture 20">
            <a:extLst>
              <a:ext uri="{FF2B5EF4-FFF2-40B4-BE49-F238E27FC236}">
                <a16:creationId xmlns:a16="http://schemas.microsoft.com/office/drawing/2014/main" id="{4AC58F3A-1064-3C0F-BDD7-E95B1636A5F8}"/>
              </a:ext>
            </a:extLst>
          </p:cNvPr>
          <p:cNvPicPr>
            <a:picLocks noChangeAspect="1"/>
          </p:cNvPicPr>
          <p:nvPr/>
        </p:nvPicPr>
        <p:blipFill>
          <a:blip r:embed="rId3"/>
          <a:stretch>
            <a:fillRect/>
          </a:stretch>
        </p:blipFill>
        <p:spPr>
          <a:xfrm>
            <a:off x="502772" y="2095243"/>
            <a:ext cx="4767907" cy="1871907"/>
          </a:xfrm>
          <a:prstGeom prst="rect">
            <a:avLst/>
          </a:prstGeom>
        </p:spPr>
      </p:pic>
      <p:cxnSp>
        <p:nvCxnSpPr>
          <p:cNvPr id="22" name="Straight Connector 21">
            <a:extLst>
              <a:ext uri="{FF2B5EF4-FFF2-40B4-BE49-F238E27FC236}">
                <a16:creationId xmlns:a16="http://schemas.microsoft.com/office/drawing/2014/main" id="{88206FA0-61AC-705A-D112-B5B7DFB1B9D0}"/>
              </a:ext>
            </a:extLst>
          </p:cNvPr>
          <p:cNvCxnSpPr/>
          <p:nvPr/>
        </p:nvCxnSpPr>
        <p:spPr>
          <a:xfrm>
            <a:off x="5341854" y="1180668"/>
            <a:ext cx="0" cy="5175682"/>
          </a:xfrm>
          <a:prstGeom prst="line">
            <a:avLst/>
          </a:prstGeom>
          <a:ln>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573A072C-22C1-8903-80E7-D1BB7AA19786}"/>
              </a:ext>
            </a:extLst>
          </p:cNvPr>
          <p:cNvSpPr txBox="1"/>
          <p:nvPr/>
        </p:nvSpPr>
        <p:spPr>
          <a:xfrm>
            <a:off x="5627725" y="904106"/>
            <a:ext cx="5568099" cy="400110"/>
          </a:xfrm>
          <a:prstGeom prst="rect">
            <a:avLst/>
          </a:prstGeom>
          <a:noFill/>
        </p:spPr>
        <p:txBody>
          <a:bodyPr wrap="square" rtlCol="0">
            <a:spAutoFit/>
          </a:bodyPr>
          <a:lstStyle/>
          <a:p>
            <a:r>
              <a:rPr lang="en-US" sz="2000" b="1" dirty="0"/>
              <a:t>Active OCP Hedging has implicit cost:</a:t>
            </a:r>
          </a:p>
        </p:txBody>
      </p:sp>
      <p:sp>
        <p:nvSpPr>
          <p:cNvPr id="26" name="TextBox 25">
            <a:extLst>
              <a:ext uri="{FF2B5EF4-FFF2-40B4-BE49-F238E27FC236}">
                <a16:creationId xmlns:a16="http://schemas.microsoft.com/office/drawing/2014/main" id="{0422C093-E602-1F74-DCA3-6F13F66ECB15}"/>
              </a:ext>
            </a:extLst>
          </p:cNvPr>
          <p:cNvSpPr txBox="1"/>
          <p:nvPr/>
        </p:nvSpPr>
        <p:spPr>
          <a:xfrm>
            <a:off x="11195824" y="213126"/>
            <a:ext cx="849030" cy="477054"/>
          </a:xfrm>
          <a:prstGeom prst="rect">
            <a:avLst/>
          </a:prstGeom>
          <a:noFill/>
          <a:ln>
            <a:solidFill>
              <a:srgbClr val="FF0000"/>
            </a:solidFill>
          </a:ln>
        </p:spPr>
        <p:txBody>
          <a:bodyPr wrap="square" rtlCol="0">
            <a:spAutoFit/>
          </a:bodyPr>
          <a:lstStyle/>
          <a:p>
            <a:pPr algn="ctr"/>
            <a:r>
              <a:rPr lang="en-US" sz="2500" b="1" dirty="0">
                <a:solidFill>
                  <a:srgbClr val="FF0000"/>
                </a:solidFill>
              </a:rPr>
              <a:t>IE6.1</a:t>
            </a:r>
            <a:endParaRPr lang="ru-RU" sz="2500" b="1" dirty="0">
              <a:solidFill>
                <a:srgbClr val="FF0000"/>
              </a:solidFill>
            </a:endParaRPr>
          </a:p>
        </p:txBody>
      </p:sp>
      <p:pic>
        <p:nvPicPr>
          <p:cNvPr id="4" name="Picture 3">
            <a:extLst>
              <a:ext uri="{FF2B5EF4-FFF2-40B4-BE49-F238E27FC236}">
                <a16:creationId xmlns:a16="http://schemas.microsoft.com/office/drawing/2014/main" id="{5BC23A30-D7EB-8B64-2905-53DF8CB360D5}"/>
              </a:ext>
            </a:extLst>
          </p:cNvPr>
          <p:cNvPicPr>
            <a:picLocks noChangeAspect="1"/>
          </p:cNvPicPr>
          <p:nvPr/>
        </p:nvPicPr>
        <p:blipFill>
          <a:blip r:embed="rId4"/>
          <a:stretch>
            <a:fillRect/>
          </a:stretch>
        </p:blipFill>
        <p:spPr>
          <a:xfrm>
            <a:off x="5627725" y="1428174"/>
            <a:ext cx="6194677" cy="3312501"/>
          </a:xfrm>
          <a:prstGeom prst="rect">
            <a:avLst/>
          </a:prstGeom>
        </p:spPr>
      </p:pic>
    </p:spTree>
    <p:extLst>
      <p:ext uri="{BB962C8B-B14F-4D97-AF65-F5344CB8AC3E}">
        <p14:creationId xmlns:p14="http://schemas.microsoft.com/office/powerpoint/2010/main" val="7262062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700&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4&quot;/&gt;&lt;end val=&quot;4&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bNumberIsYear val=&quot;0&quot;/&gt;&lt;m_strFormatTime&gt;%m.%y&lt;/m_strFormatTime&gt;&lt;m_yearfmt&gt;&lt;begin val=&quot;4&quot;/&gt;&lt;end val=&quot;4&quot;/&gt;&lt;/m_yearfmt&gt;&lt;/m_precDefaultMonth&gt;&lt;m_precDefaultQuarter&gt;&lt;m_bNumberIsYear val=&quot;0&quot;/&gt;&lt;m_strFormatTime&gt;%6/%y&lt;/m_strFormatTime&gt;&lt;m_yearfmt&gt;&lt;begin val=&quot;4&quot;/&gt;&lt;end val=&quot;4&quot;/&gt;&lt;/m_yearfmt&gt;&lt;/m_precDefaultQuarter&gt;&lt;m_precDefaultYear&gt;&lt;m_bNumberIsYear val=&quot;0&quot;/&gt;&lt;m_strFormatTime&gt;%y&lt;/m_strFormatTime&gt;&lt;m_yearfmt&gt;&lt;begin val=&quot;4&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24&quot;&gt;&lt;elem m_fUsage=&quot;3.92657400688263980015E+00&quot;&gt;&lt;m_msothmcolidx val=&quot;0&quot;/&gt;&lt;m_rgb r=&quot;01&quot; g=&quot;D0&quot; b=&quot;B2&quot;/&gt;&lt;/elem&gt;&lt;elem m_fUsage=&quot;3.48640357080415252966E+00&quot;&gt;&lt;m_msothmcolidx val=&quot;0&quot;/&gt;&lt;m_rgb r=&quot;EB&quot; g=&quot;3C&quot; b=&quot;51&quot;/&gt;&lt;/elem&gt;&lt;elem m_fUsage=&quot;1.13304187590217297910E+00&quot;&gt;&lt;m_msothmcolidx val=&quot;0&quot;/&gt;&lt;m_rgb r=&quot;1F&quot; g=&quot;4E&quot; b=&quot;79&quot;/&gt;&lt;/elem&gt;&lt;elem m_fUsage=&quot;9.00000000000000022204E-01&quot;&gt;&lt;m_msothmcolidx val=&quot;0&quot;/&gt;&lt;m_rgb r=&quot;1A&quot; g=&quot;CC&quot; b=&quot;B3&quot;/&gt;&lt;/elem&gt;&lt;elem m_fUsage=&quot;4.65496520594089135958E-01&quot;&gt;&lt;m_msothmcolidx val=&quot;0&quot;/&gt;&lt;m_rgb r=&quot;BF&quot; g=&quot;D9&quot; b=&quot;F2&quot;/&gt;&lt;/elem&gt;&lt;elem m_fUsage=&quot;6.92046620607724011220E-02&quot;&gt;&lt;m_msothmcolidx val=&quot;0&quot;/&gt;&lt;m_rgb r=&quot;67&quot; g=&quot;A3&quot; b=&quot;DE&quot;/&gt;&lt;/elem&gt;&lt;elem m_fUsage=&quot;5.72641689702235463094E-03&quot;&gt;&lt;m_msothmcolidx val=&quot;0&quot;/&gt;&lt;m_rgb r=&quot;5C&quot; g=&quot;9C&quot; b=&quot;DB&quot;/&gt;&lt;/elem&gt;&lt;elem m_fUsage=&quot;5.25757294306693385988E-03&quot;&gt;&lt;m_msothmcolidx val=&quot;0&quot;/&gt;&lt;m_rgb r=&quot;29&quot; g=&quot;68&quot; b=&quot;A0&quot;/&gt;&lt;/elem&gt;&lt;elem m_fUsage=&quot;4.72836216603517416751E-03&quot;&gt;&lt;m_msothmcolidx val=&quot;0&quot;/&gt;&lt;m_rgb r=&quot;1B&quot; g=&quot;4B&quot; b=&quot;7C&quot;/&gt;&lt;/elem&gt;&lt;elem m_fUsage=&quot;2.60386015355053073925E-03&quot;&gt;&lt;m_msothmcolidx val=&quot;0&quot;/&gt;&lt;m_rgb r=&quot;FB&quot; g=&quot;C6&quot; b=&quot;7A&quot;/&gt;&lt;/elem&gt;&lt;elem m_fUsage=&quot;3.28067878494868730033E-04&quot;&gt;&lt;m_msothmcolidx val=&quot;0&quot;/&gt;&lt;m_rgb r=&quot;D5&quot; g=&quot;E3&quot; b=&quot;F0&quot;/&gt;&lt;/elem&gt;&lt;elem m_fUsage=&quot;2.42749445031547234118E-04&quot;&gt;&lt;m_msothmcolidx val=&quot;0&quot;/&gt;&lt;m_rgb r=&quot;19&quot; g=&quot;C4&quot; b=&quot;AD&quot;/&gt;&lt;/elem&gt;&lt;elem m_fUsage=&quot;1.27147365874567412668E-04&quot;&gt;&lt;m_msothmcolidx val=&quot;0&quot;/&gt;&lt;m_rgb r=&quot;99&quot; g=&quot;C1&quot; b=&quot;EA&quot;/&gt;&lt;/elem&gt;&lt;elem m_fUsage=&quot;1.14663209187165971619E-04&quot;&gt;&lt;m_msothmcolidx val=&quot;0&quot;/&gt;&lt;m_rgb r=&quot;44&quot; g=&quot;8D&quot; b=&quot;D7&quot;/&gt;&lt;/elem&gt;&lt;elem m_fUsage=&quot;8.00732654508037438581E-05&quot;&gt;&lt;m_msothmcolidx val=&quot;0&quot;/&gt;&lt;m_rgb r=&quot;14&quot; g=&quot;38&quot; b=&quot;5C&quot;/&gt;&lt;/elem&gt;&lt;elem m_fUsage=&quot;2.03296708912534923022E-05&quot;&gt;&lt;m_msothmcolidx val=&quot;0&quot;/&gt;&lt;m_rgb r=&quot;0E&quot; g=&quot;29&quot; b=&quot;45&quot;/&gt;&lt;/elem&gt;&lt;elem m_fUsage=&quot;1.41158163862184179890E-05&quot;&gt;&lt;m_msothmcolidx val=&quot;0&quot;/&gt;&lt;m_rgb r=&quot;18&quot; g=&quot;44&quot; b=&quot;70&quot;/&gt;&lt;/elem&gt;&lt;elem m_fUsage=&quot;1.14338112728369176055E-05&quot;&gt;&lt;m_msothmcolidx val=&quot;0&quot;/&gt;&lt;m_rgb r=&quot;C2&quot; g=&quot;D7&quot; b=&quot;EB&quot;/&gt;&lt;/elem&gt;&lt;elem m_fUsage=&quot;1.09907671777604938390E-05&quot;&gt;&lt;m_msothmcolidx val=&quot;0&quot;/&gt;&lt;m_rgb r=&quot;C5&quot; g=&quot;D8&quot; b=&quot;EB&quot;/&gt;&lt;/elem&gt;&lt;elem m_fUsage=&quot;5.60629055364774212656E-06&quot;&gt;&lt;m_msothmcolidx val=&quot;0&quot;/&gt;&lt;m_rgb r=&quot;14&quot; g=&quot;3A&quot; b=&quot;61&quot;/&gt;&lt;/elem&gt;&lt;elem m_fUsage=&quot;4.47282865952980774281E-06&quot;&gt;&lt;m_msothmcolidx val=&quot;0&quot;/&gt;&lt;m_rgb r=&quot;B7&quot; g=&quot;CE&quot; b=&quot;E6&quot;/&gt;&lt;/elem&gt;&lt;elem m_fUsage=&quot;1.54039716234422188595E-06&quot;&gt;&lt;m_msothmcolidx val=&quot;0&quot;/&gt;&lt;m_rgb r=&quot;11&quot; g=&quot;31&quot; b=&quot;51&quot;/&gt;&lt;/elem&gt;&lt;elem m_fUsage=&quot;1.01337161782938879136E-06&quot;&gt;&lt;m_msothmcolidx val=&quot;0&quot;/&gt;&lt;m_rgb r=&quot;16&quot; g=&quot;40&quot; b=&quot;69&quot;/&gt;&lt;/elem&gt;&lt;elem m_fUsage=&quot;8.20831010441804957000E-07&quot;&gt;&lt;m_msothmcolidx val=&quot;0&quot;/&gt;&lt;m_rgb r=&quot;BD&quot; g=&quot;D3&quot; b=&quot;E8&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rqb5kBBaRmKiSb.CREWcq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rqb5kBBaRmKiSb.CREWcq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Sberbank-theme">
  <a:themeElements>
    <a:clrScheme name="IR presentation">
      <a:dk1>
        <a:srgbClr val="283A51"/>
      </a:dk1>
      <a:lt1>
        <a:sysClr val="window" lastClr="FFFFFF"/>
      </a:lt1>
      <a:dk2>
        <a:srgbClr val="283A51"/>
      </a:dk2>
      <a:lt2>
        <a:srgbClr val="E7E6E6"/>
      </a:lt2>
      <a:accent1>
        <a:srgbClr val="283A51"/>
      </a:accent1>
      <a:accent2>
        <a:srgbClr val="B55578"/>
      </a:accent2>
      <a:accent3>
        <a:srgbClr val="0ABAB5"/>
      </a:accent3>
      <a:accent4>
        <a:srgbClr val="DAE4E8"/>
      </a:accent4>
      <a:accent5>
        <a:srgbClr val="35818E"/>
      </a:accent5>
      <a:accent6>
        <a:srgbClr val="C1CFD3"/>
      </a:accent6>
      <a:hlink>
        <a:srgbClr val="0563C1"/>
      </a:hlink>
      <a:folHlink>
        <a:srgbClr val="954F72"/>
      </a:folHlink>
    </a:clrScheme>
    <a:fontScheme name="Sberbank">
      <a:majorFont>
        <a:latin typeface="Circe"/>
        <a:ea typeface=""/>
        <a:cs typeface=""/>
      </a:majorFont>
      <a:minorFont>
        <a:latin typeface="Circe"/>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Макет раскрытия_V32[1] [Нередактируемый]" id="{CEED4749-5589-A144-9B91-4F01FD93F908}" vid="{4F880DBD-1455-B44D-B92A-5811B7384C41}"/>
    </a:ext>
  </a:extLst>
</a:theme>
</file>

<file path=ppt/theme/theme2.xml><?xml version="1.0" encoding="utf-8"?>
<a:theme xmlns:a="http://schemas.openxmlformats.org/drawingml/2006/main" name="1_Sberbank-theme">
  <a:themeElements>
    <a:clrScheme name="IR presentation">
      <a:dk1>
        <a:srgbClr val="283A51"/>
      </a:dk1>
      <a:lt1>
        <a:sysClr val="window" lastClr="FFFFFF"/>
      </a:lt1>
      <a:dk2>
        <a:srgbClr val="283A51"/>
      </a:dk2>
      <a:lt2>
        <a:srgbClr val="E7E6E6"/>
      </a:lt2>
      <a:accent1>
        <a:srgbClr val="283A51"/>
      </a:accent1>
      <a:accent2>
        <a:srgbClr val="B55578"/>
      </a:accent2>
      <a:accent3>
        <a:srgbClr val="0ABAB5"/>
      </a:accent3>
      <a:accent4>
        <a:srgbClr val="DAE4E8"/>
      </a:accent4>
      <a:accent5>
        <a:srgbClr val="35818E"/>
      </a:accent5>
      <a:accent6>
        <a:srgbClr val="C1CFD3"/>
      </a:accent6>
      <a:hlink>
        <a:srgbClr val="0563C1"/>
      </a:hlink>
      <a:folHlink>
        <a:srgbClr val="954F72"/>
      </a:folHlink>
    </a:clrScheme>
    <a:fontScheme name="Sberbank">
      <a:majorFont>
        <a:latin typeface="Circe"/>
        <a:ea typeface=""/>
        <a:cs typeface=""/>
      </a:majorFont>
      <a:minorFont>
        <a:latin typeface="Circe"/>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Макет раскрытия_V32[1] [Нередактируемый]" id="{CEED4749-5589-A144-9B91-4F01FD93F908}" vid="{50C2D48D-24F4-7843-8069-08EDE33C33AF}"/>
    </a:ext>
  </a:extLst>
</a:theme>
</file>

<file path=ppt/theme/theme3.xml><?xml version="1.0" encoding="utf-8"?>
<a:theme xmlns:a="http://schemas.openxmlformats.org/drawingml/2006/main" name="Sberbank-theme">
  <a:themeElements>
    <a:clrScheme name="IR presentation">
      <a:dk1>
        <a:srgbClr val="283A51"/>
      </a:dk1>
      <a:lt1>
        <a:sysClr val="window" lastClr="FFFFFF"/>
      </a:lt1>
      <a:dk2>
        <a:srgbClr val="283A51"/>
      </a:dk2>
      <a:lt2>
        <a:srgbClr val="E7E6E6"/>
      </a:lt2>
      <a:accent1>
        <a:srgbClr val="283A51"/>
      </a:accent1>
      <a:accent2>
        <a:srgbClr val="B55578"/>
      </a:accent2>
      <a:accent3>
        <a:srgbClr val="0ABAB5"/>
      </a:accent3>
      <a:accent4>
        <a:srgbClr val="DAE4E8"/>
      </a:accent4>
      <a:accent5>
        <a:srgbClr val="35818E"/>
      </a:accent5>
      <a:accent6>
        <a:srgbClr val="C1CFD3"/>
      </a:accent6>
      <a:hlink>
        <a:srgbClr val="0563C1"/>
      </a:hlink>
      <a:folHlink>
        <a:srgbClr val="954F72"/>
      </a:folHlink>
    </a:clrScheme>
    <a:fontScheme name="Sberbank">
      <a:majorFont>
        <a:latin typeface="Circe"/>
        <a:ea typeface=""/>
        <a:cs typeface=""/>
      </a:majorFont>
      <a:minorFont>
        <a:latin typeface="Circe"/>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Макет раскрытия_V32[1] [Нередактируемый]" id="{CEED4749-5589-A144-9B91-4F01FD93F908}" vid="{549BB1D3-B32A-4745-9436-A6D9416A2C99}"/>
    </a:ext>
  </a:extLst>
</a:theme>
</file>

<file path=ppt/theme/theme4.xml><?xml version="1.0" encoding="utf-8"?>
<a:theme xmlns:a="http://schemas.openxmlformats.org/drawingml/2006/main" name="2_Sberbank-theme">
  <a:themeElements>
    <a:clrScheme name="IR presentation">
      <a:dk1>
        <a:srgbClr val="283A51"/>
      </a:dk1>
      <a:lt1>
        <a:sysClr val="window" lastClr="FFFFFF"/>
      </a:lt1>
      <a:dk2>
        <a:srgbClr val="283A51"/>
      </a:dk2>
      <a:lt2>
        <a:srgbClr val="E7E6E6"/>
      </a:lt2>
      <a:accent1>
        <a:srgbClr val="283A51"/>
      </a:accent1>
      <a:accent2>
        <a:srgbClr val="B55578"/>
      </a:accent2>
      <a:accent3>
        <a:srgbClr val="0ABAB5"/>
      </a:accent3>
      <a:accent4>
        <a:srgbClr val="DAE4E8"/>
      </a:accent4>
      <a:accent5>
        <a:srgbClr val="35818E"/>
      </a:accent5>
      <a:accent6>
        <a:srgbClr val="C1CFD3"/>
      </a:accent6>
      <a:hlink>
        <a:srgbClr val="0563C1"/>
      </a:hlink>
      <a:folHlink>
        <a:srgbClr val="954F72"/>
      </a:folHlink>
    </a:clrScheme>
    <a:fontScheme name="Sberbank">
      <a:majorFont>
        <a:latin typeface="Circe"/>
        <a:ea typeface=""/>
        <a:cs typeface=""/>
      </a:majorFont>
      <a:minorFont>
        <a:latin typeface="Circe"/>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Макет раскрытия_V32[1] [Нередактируемый]" id="{CEED4749-5589-A144-9B91-4F01FD93F908}" vid="{8294BE27-7173-E440-83D1-EE186411A945}"/>
    </a:ext>
  </a:extLst>
</a:theme>
</file>

<file path=ppt/theme/theme5.xml><?xml version="1.0" encoding="utf-8"?>
<a:theme xmlns:a="http://schemas.openxmlformats.org/drawingml/2006/main" name="4_Sberbank-theme">
  <a:themeElements>
    <a:clrScheme name="IR presentation">
      <a:dk1>
        <a:srgbClr val="283A51"/>
      </a:dk1>
      <a:lt1>
        <a:sysClr val="window" lastClr="FFFFFF"/>
      </a:lt1>
      <a:dk2>
        <a:srgbClr val="283A51"/>
      </a:dk2>
      <a:lt2>
        <a:srgbClr val="E7E6E6"/>
      </a:lt2>
      <a:accent1>
        <a:srgbClr val="283A51"/>
      </a:accent1>
      <a:accent2>
        <a:srgbClr val="B55578"/>
      </a:accent2>
      <a:accent3>
        <a:srgbClr val="0ABAB5"/>
      </a:accent3>
      <a:accent4>
        <a:srgbClr val="DAE4E8"/>
      </a:accent4>
      <a:accent5>
        <a:srgbClr val="35818E"/>
      </a:accent5>
      <a:accent6>
        <a:srgbClr val="C1CFD3"/>
      </a:accent6>
      <a:hlink>
        <a:srgbClr val="0563C1"/>
      </a:hlink>
      <a:folHlink>
        <a:srgbClr val="954F72"/>
      </a:folHlink>
    </a:clrScheme>
    <a:fontScheme name="Sberbank">
      <a:majorFont>
        <a:latin typeface="Circe"/>
        <a:ea typeface=""/>
        <a:cs typeface=""/>
      </a:majorFont>
      <a:minorFont>
        <a:latin typeface="Circe"/>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Макет раскрытия_V32[1] [Нередактируемый]" id="{CEED4749-5589-A144-9B91-4F01FD93F908}" vid="{0F973EEC-E155-2945-9C0F-824B73A4A9D0}"/>
    </a:ext>
  </a:extLst>
</a:theme>
</file>

<file path=ppt/theme/theme6.xml><?xml version="1.0" encoding="utf-8"?>
<a:theme xmlns:a="http://schemas.openxmlformats.org/drawingml/2006/main" name="Титулы_СБ">
  <a:themeElements>
    <a:clrScheme name="шаблон СБ 1">
      <a:dk1>
        <a:srgbClr val="000000"/>
      </a:dk1>
      <a:lt1>
        <a:srgbClr val="FFFFFF"/>
      </a:lt1>
      <a:dk2>
        <a:srgbClr val="006F3C"/>
      </a:dk2>
      <a:lt2>
        <a:srgbClr val="999999"/>
      </a:lt2>
      <a:accent1>
        <a:srgbClr val="11A74C"/>
      </a:accent1>
      <a:accent2>
        <a:srgbClr val="7DC244"/>
      </a:accent2>
      <a:accent3>
        <a:srgbClr val="DC0F00"/>
      </a:accent3>
      <a:accent4>
        <a:srgbClr val="139884"/>
      </a:accent4>
      <a:accent5>
        <a:srgbClr val="EB7F2E"/>
      </a:accent5>
      <a:accent6>
        <a:srgbClr val="0C8CBB"/>
      </a:accent6>
      <a:hlink>
        <a:srgbClr val="71C7C4"/>
      </a:hlink>
      <a:folHlink>
        <a:srgbClr val="F6AC25"/>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шаблон-СБ-16-9" id="{139DC356-87A8-4CA5-A90F-96BAD60E2965}" vid="{22A53204-ED80-4269-9A04-24C44FF7FB65}"/>
    </a:ext>
  </a:extLst>
</a:theme>
</file>

<file path=ppt/theme/theme7.xml><?xml version="1.0" encoding="utf-8"?>
<a:theme xmlns:a="http://schemas.openxmlformats.org/drawingml/2006/main" name="1_Office Theme">
  <a:themeElements>
    <a:clrScheme name="Тема 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Тема 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Тема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Оформление по умолчанию</Template>
  <TotalTime>154437</TotalTime>
  <Words>791</Words>
  <Application>Microsoft Office PowerPoint</Application>
  <PresentationFormat>Widescreen</PresentationFormat>
  <Paragraphs>126</Paragraphs>
  <Slides>5</Slides>
  <Notes>1</Notes>
  <HiddenSlides>0</HiddenSlides>
  <MMClips>0</MMClips>
  <ScaleCrop>false</ScaleCrop>
  <HeadingPairs>
    <vt:vector size="8" baseType="variant">
      <vt:variant>
        <vt:lpstr>Fonts Used</vt:lpstr>
      </vt:variant>
      <vt:variant>
        <vt:i4>11</vt:i4>
      </vt:variant>
      <vt:variant>
        <vt:lpstr>Theme</vt:lpstr>
      </vt:variant>
      <vt:variant>
        <vt:i4>7</vt:i4>
      </vt:variant>
      <vt:variant>
        <vt:lpstr>Embedded OLE Servers</vt:lpstr>
      </vt:variant>
      <vt:variant>
        <vt:i4>1</vt:i4>
      </vt:variant>
      <vt:variant>
        <vt:lpstr>Slide Titles</vt:lpstr>
      </vt:variant>
      <vt:variant>
        <vt:i4>5</vt:i4>
      </vt:variant>
    </vt:vector>
  </HeadingPairs>
  <TitlesOfParts>
    <vt:vector size="24" baseType="lpstr">
      <vt:lpstr>Arial</vt:lpstr>
      <vt:lpstr>Calibri</vt:lpstr>
      <vt:lpstr>Calibri Light</vt:lpstr>
      <vt:lpstr>Cambria Math</vt:lpstr>
      <vt:lpstr>Circe</vt:lpstr>
      <vt:lpstr>Circe Light</vt:lpstr>
      <vt:lpstr>Fedra Sans Pro Book</vt:lpstr>
      <vt:lpstr>Franklin Gothic Book</vt:lpstr>
      <vt:lpstr>SB Sans Display</vt:lpstr>
      <vt:lpstr>Segoe UI</vt:lpstr>
      <vt:lpstr>Wingdings</vt:lpstr>
      <vt:lpstr>3_Sberbank-theme</vt:lpstr>
      <vt:lpstr>1_Sberbank-theme</vt:lpstr>
      <vt:lpstr>Sberbank-theme</vt:lpstr>
      <vt:lpstr>2_Sberbank-theme</vt:lpstr>
      <vt:lpstr>4_Sberbank-theme</vt:lpstr>
      <vt:lpstr>Титулы_СБ</vt:lpstr>
      <vt:lpstr>1_Office Theme</vt:lpstr>
      <vt:lpstr>Слайд think-cell</vt:lpstr>
      <vt:lpstr>PowerPoint Presentation</vt:lpstr>
      <vt:lpstr>PowerPoint Presentation</vt:lpstr>
      <vt:lpstr>PowerPoint Presentation</vt:lpstr>
      <vt:lpstr>PowerPoint Presentation</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subject/>
  <dc:creator>Microsoft Office User</dc:creator>
  <cp:keywords/>
  <dc:description/>
  <cp:lastModifiedBy>STEPANCHENKO, D. (Dmitrii)</cp:lastModifiedBy>
  <cp:revision>3533</cp:revision>
  <dcterms:created xsi:type="dcterms:W3CDTF">2021-03-01T07:36:38Z</dcterms:created>
  <dcterms:modified xsi:type="dcterms:W3CDTF">2023-03-13T18:03:14Z</dcterms:modified>
  <cp:category/>
</cp:coreProperties>
</file>